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768" r:id="rId2"/>
    <p:sldMasterId id="2147483739" r:id="rId3"/>
    <p:sldMasterId id="2147483793" r:id="rId4"/>
  </p:sldMasterIdLst>
  <p:notesMasterIdLst>
    <p:notesMasterId r:id="rId20"/>
  </p:notesMasterIdLst>
  <p:handoutMasterIdLst>
    <p:handoutMasterId r:id="rId21"/>
  </p:handoutMasterIdLst>
  <p:sldIdLst>
    <p:sldId id="1293234364" r:id="rId5"/>
    <p:sldId id="1293234344" r:id="rId6"/>
    <p:sldId id="1293234345" r:id="rId7"/>
    <p:sldId id="1293234358" r:id="rId8"/>
    <p:sldId id="1293234359" r:id="rId9"/>
    <p:sldId id="1293234366" r:id="rId10"/>
    <p:sldId id="1293234348" r:id="rId11"/>
    <p:sldId id="1293234350" r:id="rId12"/>
    <p:sldId id="1293234362" r:id="rId13"/>
    <p:sldId id="1293234353" r:id="rId14"/>
    <p:sldId id="1293234368" r:id="rId15"/>
    <p:sldId id="1293234357" r:id="rId16"/>
    <p:sldId id="1293234378" r:id="rId17"/>
    <p:sldId id="1293234365" r:id="rId18"/>
    <p:sldId id="1293234363" r:id="rId19"/>
  </p:sldIdLst>
  <p:sldSz cx="9144000" cy="5143500" type="screen16x9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760" userDrawn="1">
          <p15:clr>
            <a:srgbClr val="A4A3A4"/>
          </p15:clr>
        </p15:guide>
        <p15:guide id="3" orient="horz" pos="17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" clrIdx="1"/>
  <p:cmAuthor id="3" name="Liliane Meijnen" initials="LM" lastIdx="19" clrIdx="2">
    <p:extLst>
      <p:ext uri="{19B8F6BF-5375-455C-9EA6-DF929625EA0E}">
        <p15:presenceInfo xmlns:p15="http://schemas.microsoft.com/office/powerpoint/2012/main" userId="Liliane Meijn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92B1D"/>
    <a:srgbClr val="2E2E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BFEA419B-BCDB-4C27-8AB2-1E94C2BD932B}">
  <a:tblStyle styleId="{BFEA419B-BCDB-4C27-8AB2-1E94C2BD932B}" styleName="Elsevier light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0" cmpd="sng">
              <a:solidFill>
                <a:schemeClr val="lt1"/>
              </a:solidFill>
            </a:ln>
          </a:top>
          <a:bottom>
            <a:ln w="12700" cmpd="sng">
              <a:solidFill>
                <a:srgbClr val="DCDCDD"/>
              </a:solidFill>
            </a:ln>
          </a:bottom>
          <a:insideH>
            <a:ln w="12700" cmpd="sng">
              <a:solidFill>
                <a:srgbClr val="DCDCDD"/>
              </a:solidFill>
            </a:ln>
          </a:insideH>
          <a:insideV>
            <a:ln w="0" cmpd="sng">
              <a:solidFill>
                <a:schemeClr val="dk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27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bottom>
            <a:ln w="12700" cmpd="sng">
              <a:solidFill>
                <a:srgbClr val="FF6C00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BFEA419B-BCDB-4C27-8AB2-1E94C2BD932C}" styleName="Elsevier dark">
    <a:wholeTbl>
      <a:tcTxStyle>
        <a:fontRef idx="minor">
          <a:prstClr val="white"/>
        </a:fontRef>
        <a:schemeClr val="lt1"/>
      </a:tcTxStyle>
      <a:tcStyle>
        <a:tcBdr>
          <a:left>
            <a:ln w="0" cmpd="sng">
              <a:solidFill>
                <a:srgbClr val="2E2E2E"/>
              </a:solidFill>
            </a:ln>
          </a:left>
          <a:right>
            <a:ln w="0" cmpd="sng">
              <a:solidFill>
                <a:srgbClr val="2E2E2E"/>
              </a:solidFill>
            </a:ln>
          </a:right>
          <a:top>
            <a:ln w="0" cmpd="sng">
              <a:solidFill>
                <a:srgbClr val="2E2E2E"/>
              </a:solidFill>
            </a:ln>
          </a:top>
          <a:bottom>
            <a:ln w="12700" cmpd="sng">
              <a:solidFill>
                <a:srgbClr val="DCDCDD"/>
              </a:solidFill>
            </a:ln>
          </a:bottom>
          <a:insideH>
            <a:ln w="12700" cmpd="sng">
              <a:solidFill>
                <a:srgbClr val="DCDCDD"/>
              </a:solidFill>
            </a:ln>
          </a:insideH>
          <a:insideV>
            <a:ln w="0" cmpd="sng">
              <a:solidFill>
                <a:schemeClr val="dk1"/>
              </a:solidFill>
            </a:ln>
          </a:insideV>
        </a:tcBdr>
        <a:fill>
          <a:solidFill>
            <a:srgbClr val="2E2E2E"/>
          </a:solidFill>
        </a:fill>
      </a:tcStyle>
    </a:wholeTbl>
    <a:band1H>
      <a:tcStyle>
        <a:tcBdr/>
        <a:fill>
          <a:solidFill>
            <a:srgbClr val="2E2E2E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53565A"/>
          </a:solidFill>
        </a:fill>
      </a:tcStyle>
    </a:band1V>
    <a:band2V>
      <a:tcStyle>
        <a:tcBdr/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rgbClr val="3C3C3C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rgbClr val="3C3C3C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>
          <a:top>
            <a:ln w="12700" cmpd="sng">
              <a:solidFill>
                <a:srgbClr val="2E2E2E"/>
              </a:solidFill>
            </a:ln>
          </a:top>
        </a:tcBdr>
        <a:fill>
          <a:solidFill>
            <a:srgbClr val="3C3C3C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>
          <a:bottom>
            <a:ln w="12700" cmpd="sng">
              <a:solidFill>
                <a:srgbClr val="FF6C00"/>
              </a:solidFill>
            </a:ln>
          </a:bottom>
        </a:tcBdr>
        <a:fill>
          <a:solidFill>
            <a:srgbClr val="2E2E2E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1368" autoAdjust="0"/>
    <p:restoredTop sz="95603"/>
  </p:normalViewPr>
  <p:slideViewPr>
    <p:cSldViewPr snapToGrid="0" showGuides="1">
      <p:cViewPr varScale="1">
        <p:scale>
          <a:sx n="146" d="100"/>
          <a:sy n="146" d="100"/>
        </p:scale>
        <p:origin x="176" y="576"/>
      </p:cViewPr>
      <p:guideLst>
        <p:guide pos="5760"/>
        <p:guide orient="horz" pos="17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00" d="100"/>
        <a:sy n="100" d="100"/>
      </p:scale>
      <p:origin x="0" y="-15230"/>
    </p:cViewPr>
  </p:sorterViewPr>
  <p:notesViewPr>
    <p:cSldViewPr snapToGrid="0">
      <p:cViewPr varScale="1">
        <p:scale>
          <a:sx n="69" d="100"/>
          <a:sy n="69" d="100"/>
        </p:scale>
        <p:origin x="2851" y="6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5FACC53-DC5A-474D-BF40-5DEE5F8B64A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dirty="0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76045F-ADB6-491B-962A-FF775ED846C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B6EFF9-8149-4B5D-A6E5-2AE8F4B33535}" type="datetimeFigureOut">
              <a:rPr lang="en-GB" smtClean="0">
                <a:latin typeface="Arial" panose="020B0604020202020204" pitchFamily="34" charset="0"/>
              </a:rPr>
              <a:t>20/10/2023</a:t>
            </a:fld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23ED0C-AA8B-40BA-B6F3-D505E74CA77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13853D-F1D8-47E4-9768-A371E326179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6E183A-C4E9-47DF-9822-C1FEB6FD02A0}" type="slidenum">
              <a:rPr lang="en-GB" smtClean="0">
                <a:latin typeface="Arial" panose="020B0604020202020204" pitchFamily="34" charset="0"/>
              </a:rPr>
              <a:t>‹#›</a:t>
            </a:fld>
            <a:endParaRPr lang="en-GB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84002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19DD4CF-C917-4D69-9374-6EFF2E9F78C3}" type="datetimeFigureOut">
              <a:rPr lang="en-GB" smtClean="0"/>
              <a:pPr/>
              <a:t>20/10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A7443C7B-F938-4CE9-A268-32817172635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87407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31053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9CF60C-F237-4C35-B5B9-DCAC15891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9DBEF-F615-45A1-AA51-C34CD01BC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3A0FA-AB68-49F8-A8DA-E9F3A2F1B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F4F1C2-2D04-4080-9FD1-F04C6A852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6"/>
            <a:ext cx="7991475" cy="3897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8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4B0388-7C7E-45C3-A6E3-3E637FAB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C33F9F-6CBB-499E-A399-F579A1C082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B278D-E37B-46DC-954C-589B0EF3E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26578-F514-4D23-8B3F-F3016B7CA9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576263" y="835025"/>
            <a:ext cx="7991475" cy="3897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FE40DE-7E7D-4146-AB2D-5551E7E74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770B-7A94-4844-AD38-CF8FB308000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74F79-D68A-45F4-B9C7-F1CCDF9519A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6A03-20E1-4E11-AF69-2080BD58C1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437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859338" y="835026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 baseline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1EA73AF-7637-4A6C-A4B0-311EBFC6D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264F-6D72-4F24-8CD7-BE495E8BB68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CD3D90-6931-458C-A0AF-D2BBC25C86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8558DF-C777-4C31-85A8-21E662F0A5E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859338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287338" indent="-287338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72E2A8-E205-4778-8440-C86A3161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4B11B-E592-4BB9-AE34-F70CB195E72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F1A4215-8A59-48E0-8F12-9F23CA6022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294D08-94E6-49A2-9DF7-398509396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995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 </a:t>
            </a:r>
            <a:br>
              <a:rPr lang="en-US" noProof="0" dirty="0"/>
            </a:br>
            <a:r>
              <a:rPr lang="en-US" noProof="0" dirty="0"/>
              <a:t>or click icon to add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1301CE-B3DE-49E1-B3B2-EA2475A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3708400" cy="5048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3F7EFBD-DB9C-45C5-9F2E-C46AEC5F67D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3377E4-E0A6-4CAB-B97D-200423520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FCB58-7D88-4A1A-B1DD-02B1B052F52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183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</a:t>
            </a:r>
            <a:br>
              <a:rPr lang="en-US" noProof="0" dirty="0"/>
            </a:br>
            <a:r>
              <a:rPr lang="en-US" noProof="0" dirty="0"/>
              <a:t>or click icon to add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859338" y="835025"/>
            <a:ext cx="3681797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EE6764-BCD9-4C0F-8D7F-6DAB3E01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338" y="195263"/>
            <a:ext cx="3681797" cy="5048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0B3F087-DB20-4A94-AB80-B37ECB4779C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6D60D1-99A0-4A98-BC8E-3EF57AA9400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6BAC64-3B0D-463F-8B20-473CDA4BD82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27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946856-8546-4DA9-9A8E-E5AE5A89C49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5E8465-767D-44BA-B892-E9FA43E13D5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6D917-89B9-4999-9898-0406930D63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oundRect">
            <a:avLst>
              <a:gd name="adj" fmla="val 2994"/>
            </a:avLst>
          </a:prstGeom>
          <a:solidFill>
            <a:schemeClr val="accent6"/>
          </a:solidFill>
          <a:effectLst>
            <a:outerShdw blurRad="139700" dist="12700" dir="2700000" sx="101000" sy="101000" algn="t" rotWithShape="0">
              <a:srgbClr val="353535">
                <a:alpha val="41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2196000" rIns="0" bIns="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B6A0F-FAB0-4F8C-9459-30EDA083527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A77CE-E662-481F-BCC4-5E6BB30CACE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6AD45-0EAC-4DBD-8C61-C0F4ACB5360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7361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7FD35B-6C0E-42DE-85B1-6521194AA6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11B6FB-578C-4F3B-A98D-5AF9DECFC4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18D1FF-B499-48AE-A463-FCD1B03277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18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46A4B26-CBD6-4EC3-9BB2-03D1059EC0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oundRect">
            <a:avLst>
              <a:gd name="adj" fmla="val 3147"/>
            </a:avLst>
          </a:prstGeom>
          <a:solidFill>
            <a:schemeClr val="accent6"/>
          </a:solidFill>
          <a:effectLst>
            <a:outerShdw blurRad="139700" dist="12700" dir="2700000" sx="101000" sy="101000" algn="ctr" rotWithShape="0">
              <a:prstClr val="black">
                <a:alpha val="41000"/>
              </a:prstClr>
            </a:outerShdw>
          </a:effectLst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DD8DB3-C531-4BAF-94DF-B0A78EC717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44BE83-BA14-49B6-A392-4BAD50F860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0C4FF9-2E18-439F-BB75-2227EBAD58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783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D87977-6410-4861-821B-247A28DFF4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263" y="835025"/>
            <a:ext cx="7991475" cy="3897313"/>
          </a:xfrm>
          <a:solidFill>
            <a:schemeClr val="accent6"/>
          </a:solidFill>
        </p:spPr>
        <p:txBody>
          <a:bodyPr tIns="2088000"/>
          <a:lstStyle>
            <a:lvl1pPr marL="0" indent="0" algn="ctr">
              <a:buNone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931620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 dirty="0"/>
              <a:t>Drag movie to placeholder or click icon to ad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4227513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50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576261" y="835024"/>
            <a:ext cx="7990394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table</a:t>
            </a:r>
            <a:endParaRPr lang="en-US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01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4533" y="2325818"/>
            <a:ext cx="2929467" cy="281768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“Quote”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140A6-5D0E-4488-95CA-4733486F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00B3A-B3FB-4A32-A145-4E221A43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DC275C-83AD-4E74-9F99-2A21F1C78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781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white text - on dark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US" noProof="0" dirty="0"/>
              <a:t>Drag picture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FDA8F-E5DE-42B3-BE10-7B8BCDC83F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D733F-B7CE-451D-A09C-370A3D494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4006D7-7C1F-4025-93C7-D6BFDD015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8A7EB86-3F9E-4A42-81FA-F215DE6BC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“Quote”</a:t>
            </a:r>
          </a:p>
        </p:txBody>
      </p:sp>
    </p:spTree>
    <p:extLst>
      <p:ext uri="{BB962C8B-B14F-4D97-AF65-F5344CB8AC3E}">
        <p14:creationId xmlns:p14="http://schemas.microsoft.com/office/powerpoint/2010/main" val="2195032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dark text - on ligh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US" dirty="0"/>
              <a:t>Drag </a:t>
            </a:r>
            <a:r>
              <a:rPr lang="en-US" noProof="0" dirty="0"/>
              <a:t>picture</a:t>
            </a:r>
            <a:r>
              <a:rPr lang="en-US" dirty="0"/>
              <a:t>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5D03DB-E24A-4B52-B9D9-B3D6DF2138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D1E53-7D02-44DA-8691-6E53E6200A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AB17E-1E0B-4FA0-982D-17BEFEF877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28E9124-E359-49E6-A14A-2497E35E51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“Quote”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26F7B-C707-4C07-B686-02CD29F0CA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944888"/>
            <a:ext cx="3708400" cy="1594378"/>
          </a:xfrm>
        </p:spPr>
        <p:txBody>
          <a:bodyPr/>
          <a:lstStyle>
            <a:lvl1pPr marL="0" indent="0">
              <a:buNone/>
              <a:tabLst/>
              <a:defRPr lang="en-US" sz="500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osing lin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330700"/>
            <a:ext cx="5112709" cy="4488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Department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A798CCC-F599-47BC-84EE-8CAA3D2206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46097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038121F-96D5-40EB-BB03-795F0A5AE3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0"/>
            <a:ext cx="9143999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902E346-5E84-425A-81AA-84BFBC2AE4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3844"/>
            <a:ext cx="8229600" cy="822960"/>
          </a:xfrm>
          <a:ln w="12700">
            <a:miter lim="400000"/>
          </a:ln>
        </p:spPr>
        <p:txBody>
          <a:bodyPr lIns="45719" rIns="45719" anchor="ctr">
            <a:normAutofit/>
          </a:bodyPr>
          <a:lstStyle>
            <a:lvl1pPr>
              <a:defRPr lang="en-US" sz="2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22DCBC-4951-4F93-BC42-86EF4F3A1E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81099"/>
            <a:ext cx="8229600" cy="329184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500">
                <a:solidFill>
                  <a:schemeClr val="bg1"/>
                </a:solidFill>
              </a:defRPr>
            </a:lvl2pPr>
            <a:lvl3pPr>
              <a:defRPr sz="135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49587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7990393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73F1347-FE67-40E4-AA2D-310D37787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90D2E0-D57F-4A41-BD5C-3583FF074B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4C421E-5D95-451E-8949-471305E9407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9D60DA-BD57-4569-90FD-32EA726464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358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C401EA3-16A6-47D3-9D6E-A27DFE2287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88984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4859339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4831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209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59339" y="835025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619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4859337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4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97C3F8B-AA01-47E2-9CB3-C8B5B86F1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tabLst>
                <a:tab pos="1079500" algn="l"/>
              </a:tabLst>
              <a:defRPr/>
            </a:lvl1pPr>
          </a:lstStyle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27E724-76AC-43CB-8150-488BD4B602E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402BF66-0833-4D31-80F3-93788D9D40C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46FAC6A-2EDD-45F1-BB2D-4D0B78A0510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219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Chart Placeholder 5"/>
          <p:cNvSpPr>
            <a:spLocks noGrp="1"/>
          </p:cNvSpPr>
          <p:nvPr>
            <p:ph type="chart" sz="quarter" idx="18"/>
          </p:nvPr>
        </p:nvSpPr>
        <p:spPr>
          <a:xfrm>
            <a:off x="3336087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6095912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6AC3EB6-1B81-4F6E-9980-641B2C288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0E28DA-F910-4040-B42A-86EE40EE144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FDF0E6-F08C-4144-89DF-E19E4D5C057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51FF921-569A-4A54-859C-5F61B641D5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20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FCEF2CD-9A3A-421B-94C9-614952CA20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929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4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bg1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Click to edit title</a:t>
            </a:r>
            <a:br>
              <a:rPr lang="en-US"/>
            </a:br>
            <a:r>
              <a:rPr lang="en-US"/>
              <a:t>max over 2 lines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4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US"/>
              <a:t>Subtitl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9B5CBCDE-5E13-4C2D-BD2B-A7F04116F6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5181"/>
          <a:stretch/>
        </p:blipFill>
        <p:spPr>
          <a:xfrm>
            <a:off x="0" y="-1"/>
            <a:ext cx="9144000" cy="797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815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GB" dirty="0"/>
            </a:lvl1pPr>
          </a:lstStyle>
          <a:p>
            <a:pPr marL="285750" lvl="0" indent="-285750">
              <a:lnSpc>
                <a:spcPct val="100000"/>
              </a:lnSpc>
            </a:pPr>
            <a:r>
              <a:rPr lang="en-US"/>
              <a:t>Click to edit Master text styles</a:t>
            </a: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956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9CF60C-F237-4C35-B5B9-DCAC15891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9DBEF-F615-45A1-AA51-C34CD01BC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3A0FA-AB68-49F8-A8DA-E9F3A2F1B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F4F1C2-2D04-4080-9FD1-F04C6A852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146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6"/>
            <a:ext cx="7991475" cy="3897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8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4B0388-7C7E-45C3-A6E3-3E637FAB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C33F9F-6CBB-499E-A399-F579A1C082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B278D-E37B-46DC-954C-589B0EF3E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26578-F514-4D23-8B3F-F3016B7CA9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346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576263" y="835025"/>
            <a:ext cx="7991475" cy="3897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FE40DE-7E7D-4146-AB2D-5551E7E74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770B-7A94-4844-AD38-CF8FB308000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74F79-D68A-45F4-B9C7-F1CCDF9519A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6A03-20E1-4E11-AF69-2080BD58C1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597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59E71B1-F750-4435-986C-7F9EF20560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99294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859338" y="835026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 baseline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1EA73AF-7637-4A6C-A4B0-311EBFC6D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264F-6D72-4F24-8CD7-BE495E8BB68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CD3D90-6931-458C-A0AF-D2BBC25C86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8558DF-C777-4C31-85A8-21E662F0A5E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0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859338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287338" indent="-287338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72E2A8-E205-4778-8440-C86A3161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4B11B-E592-4BB9-AE34-F70CB195E72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F1A4215-8A59-48E0-8F12-9F23CA6022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294D08-94E6-49A2-9DF7-398509396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36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</a:t>
            </a:r>
            <a:br>
              <a:rPr lang="en-US" noProof="0"/>
            </a:br>
            <a:r>
              <a:rPr lang="en-US" noProof="0"/>
              <a:t>or click icon to add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1301CE-B3DE-49E1-B3B2-EA2475A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3708400" cy="504825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3F7EFBD-DB9C-45C5-9F2E-C46AEC5F67D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3377E4-E0A6-4CAB-B97D-200423520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FCB58-7D88-4A1A-B1DD-02B1B052F52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3925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</a:t>
            </a:r>
            <a:br>
              <a:rPr lang="en-US" noProof="0"/>
            </a:br>
            <a:r>
              <a:rPr lang="en-US" noProof="0"/>
              <a:t>or click icon to add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859338" y="835025"/>
            <a:ext cx="3681797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EE6764-BCD9-4C0F-8D7F-6DAB3E01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338" y="195263"/>
            <a:ext cx="3681797" cy="504825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0B3F087-DB20-4A94-AB80-B37ECB4779C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6D60D1-99A0-4A98-BC8E-3EF57AA9400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6BAC64-3B0D-463F-8B20-473CDA4BD82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561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ect">
            <a:avLst/>
          </a:prstGeom>
          <a:solidFill>
            <a:schemeClr val="accent6"/>
          </a:solidFill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946856-8546-4DA9-9A8E-E5AE5A89C49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5E8465-767D-44BA-B892-E9FA43E13D5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6D917-89B9-4999-9898-0406930D63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462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oundRect">
            <a:avLst>
              <a:gd name="adj" fmla="val 4402"/>
            </a:avLst>
          </a:prstGeom>
          <a:solidFill>
            <a:schemeClr val="accent6"/>
          </a:solidFill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2232000" rIns="0" bIns="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B6A0F-FAB0-4F8C-9459-30EDA083527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A77CE-E662-481F-BCC4-5E6BB30CACE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6AD45-0EAC-4DBD-8C61-C0F4ACB5360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93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ect">
            <a:avLst/>
          </a:prstGeom>
          <a:solidFill>
            <a:schemeClr val="accent6"/>
          </a:solidFill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7FD35B-6C0E-42DE-85B1-6521194AA6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11B6FB-578C-4F3B-A98D-5AF9DECFC4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18D1FF-B499-48AE-A463-FCD1B03277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7704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oundRect">
            <a:avLst>
              <a:gd name="adj" fmla="val 4626"/>
            </a:avLst>
          </a:prstGeom>
          <a:solidFill>
            <a:schemeClr val="accent6"/>
          </a:solidFill>
          <a:effectLst/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DD8DB3-C531-4BAF-94DF-B0A78EC717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44BE83-BA14-49B6-A392-4BAD50F860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0C4FF9-2E18-439F-BB75-2227EBAD58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825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D87977-6410-4861-821B-247A28DFF4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263" y="835025"/>
            <a:ext cx="7991475" cy="3897313"/>
          </a:xfrm>
          <a:solidFill>
            <a:schemeClr val="accent6"/>
          </a:solidFill>
        </p:spPr>
        <p:txBody>
          <a:bodyPr tIns="223200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66524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/>
              <a:t>Drag movie to placeholder or click icon to add</a:t>
            </a:r>
            <a:endParaRPr lang="en-US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4227513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8403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77043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576261" y="835024"/>
            <a:ext cx="7990394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table</a:t>
            </a:r>
            <a:endParaRPr lang="en-US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8960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EEE115E-9A03-449B-92F1-3CD40794A0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900" y="2057400"/>
            <a:ext cx="3086100" cy="30861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>
              <a:lnSpc>
                <a:spcPct val="100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Quote”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140A6-5D0E-4488-95CA-4733486F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00B3A-B3FB-4A32-A145-4E221A43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DC275C-83AD-4E74-9F99-2A21F1C78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114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white text - on dark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into placeholder</a:t>
            </a:r>
            <a:endParaRPr lang="en-US" noProof="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3C7E15-6A7F-304C-9E96-52D4906F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35024"/>
            <a:ext cx="5976000" cy="3168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“Quote”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FDA8F-E5DE-42B3-BE10-7B8BCDC83F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D733F-B7CE-451D-A09C-370A3D494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4006D7-7C1F-4025-93C7-D6BFDD015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65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dark text - on ligh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Drag </a:t>
            </a:r>
            <a:r>
              <a:rPr lang="en-US" noProof="0"/>
              <a:t>picture</a:t>
            </a:r>
            <a:r>
              <a:rPr lang="en-US"/>
              <a:t> into placeholder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3C7E15-6A7F-304C-9E96-52D4906F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35024"/>
            <a:ext cx="5976000" cy="3168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lnSpc>
                <a:spcPct val="100000"/>
              </a:lnSpc>
              <a:defRPr sz="3600">
                <a:solidFill>
                  <a:srgbClr val="53565A"/>
                </a:solidFill>
              </a:defRPr>
            </a:lvl1pPr>
          </a:lstStyle>
          <a:p>
            <a:r>
              <a:rPr lang="en-US"/>
              <a:t>“Quote”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5D03DB-E24A-4B52-B9D9-B3D6DF2138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D1E53-7D02-44DA-8691-6E53E6200A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AB17E-1E0B-4FA0-982D-17BEFEF877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52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26F7B-C707-4C07-B686-02CD29F0CA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944888"/>
            <a:ext cx="3708400" cy="1594378"/>
          </a:xfrm>
        </p:spPr>
        <p:txBody>
          <a:bodyPr/>
          <a:lstStyle>
            <a:lvl1pPr marL="0" indent="0">
              <a:buNone/>
              <a:tabLst/>
              <a:defRPr lang="en-US" sz="5000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osing lin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330700"/>
            <a:ext cx="5112709" cy="4488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at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C1E151E-40BD-4BA6-BA47-B4CC88EEAB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265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7990393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73F1347-FE67-40E4-AA2D-310D37787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90D2E0-D57F-4A41-BD5C-3583FF074B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4C421E-5D95-451E-8949-471305E9407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9D60DA-BD57-4569-90FD-32EA726464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8154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4859339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4831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420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59339" y="835025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5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4859337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4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97C3F8B-AA01-47E2-9CB3-C8B5B86F1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27E724-76AC-43CB-8150-488BD4B602E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402BF66-0833-4D31-80F3-93788D9D40C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46FAC6A-2EDD-45F1-BB2D-4D0B78A0510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943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Chart Placeholder 5"/>
          <p:cNvSpPr>
            <a:spLocks noGrp="1"/>
          </p:cNvSpPr>
          <p:nvPr>
            <p:ph type="chart" sz="quarter" idx="18"/>
          </p:nvPr>
        </p:nvSpPr>
        <p:spPr>
          <a:xfrm>
            <a:off x="3336087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9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6095912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6AC3EB6-1B81-4F6E-9980-641B2C288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0E28DA-F910-4040-B42A-86EE40EE144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FDF0E6-F08C-4144-89DF-E19E4D5C057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51FF921-569A-4A54-859C-5F61B641D5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298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and gray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9931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US" noProof="0" dirty="0"/>
              <a:t>Click to edit title max over 2x lin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8A0C770-19FC-43E2-AEE2-B18B053BE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9138993" cy="797661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4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tx1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  <a:br>
              <a:rPr lang="en-US" dirty="0"/>
            </a:br>
            <a:r>
              <a:rPr lang="en-US" dirty="0"/>
              <a:t>max over 2 lin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4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Sub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88000" indent="-288000">
              <a:defRPr lang="en-GB" dirty="0"/>
            </a:lvl1pPr>
          </a:lstStyle>
          <a:p>
            <a:pPr marL="285750" lvl="0" indent="-28575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260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image" Target="../media/image4.svg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928590-4084-6B40-8DED-B4F8C98BED1B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rcRect/>
          <a:stretch/>
        </p:blipFill>
        <p:spPr>
          <a:xfrm>
            <a:off x="8567737" y="198501"/>
            <a:ext cx="401839" cy="443408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7558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2" r:id="rId2"/>
    <p:sldLayoutId id="2147483803" r:id="rId3"/>
    <p:sldLayoutId id="2147483660" r:id="rId4"/>
    <p:sldLayoutId id="2147483802" r:id="rId5"/>
    <p:sldLayoutId id="2147483804" r:id="rId6"/>
    <p:sldLayoutId id="2147483701" r:id="rId7"/>
    <p:sldLayoutId id="2147483734" r:id="rId8"/>
    <p:sldLayoutId id="2147483650" r:id="rId9"/>
    <p:sldLayoutId id="2147483735" r:id="rId10"/>
    <p:sldLayoutId id="2147483708" r:id="rId11"/>
    <p:sldLayoutId id="2147483662" r:id="rId12"/>
    <p:sldLayoutId id="2147483703" r:id="rId13"/>
    <p:sldLayoutId id="2147483696" r:id="rId14"/>
    <p:sldLayoutId id="2147483663" r:id="rId15"/>
    <p:sldLayoutId id="2147483698" r:id="rId16"/>
    <p:sldLayoutId id="2147483699" r:id="rId17"/>
    <p:sldLayoutId id="2147483737" r:id="rId18"/>
    <p:sldLayoutId id="2147483666" r:id="rId19"/>
    <p:sldLayoutId id="2147483736" r:id="rId20"/>
    <p:sldLayoutId id="2147483738" r:id="rId21"/>
    <p:sldLayoutId id="2147483767" r:id="rId22"/>
    <p:sldLayoutId id="2147483669" r:id="rId23"/>
    <p:sldLayoutId id="2147483665" r:id="rId24"/>
    <p:sldLayoutId id="2147483664" r:id="rId25"/>
    <p:sldLayoutId id="2147483709" r:id="rId26"/>
    <p:sldLayoutId id="2147483670" r:id="rId27"/>
    <p:sldLayoutId id="2147483805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7">
            <a:extLst>
              <a:ext uri="{FF2B5EF4-FFF2-40B4-BE49-F238E27FC236}">
                <a16:creationId xmlns:a16="http://schemas.microsoft.com/office/drawing/2014/main" id="{8D5161C8-EE77-4377-B6B1-7E9C29CB9F0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8567737" y="198501"/>
            <a:ext cx="401839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582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88" r:id="rId2"/>
    <p:sldLayoutId id="2147483792" r:id="rId3"/>
    <p:sldLayoutId id="2147483790" r:id="rId4"/>
    <p:sldLayoutId id="214748379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E2E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D2B5B76-D48B-486B-B148-17C02F22EB4C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rcRect/>
          <a:stretch/>
        </p:blipFill>
        <p:spPr>
          <a:xfrm>
            <a:off x="8570538" y="198501"/>
            <a:ext cx="396236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54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801" r:id="rId16"/>
    <p:sldLayoutId id="2147483762" r:id="rId17"/>
    <p:sldLayoutId id="2147483763" r:id="rId18"/>
    <p:sldLayoutId id="2147483764" r:id="rId19"/>
    <p:sldLayoutId id="2147483765" r:id="rId20"/>
    <p:sldLayoutId id="2147483766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E2E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2B01DC-AA4B-4B09-A9C1-2490348EB46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8570538" y="198501"/>
            <a:ext cx="396236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072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8.xml"/><Relationship Id="rId1" Type="http://schemas.openxmlformats.org/officeDocument/2006/relationships/tags" Target="../tags/tag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8.xml"/><Relationship Id="rId1" Type="http://schemas.openxmlformats.org/officeDocument/2006/relationships/tags" Target="../tags/tag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8.xml"/><Relationship Id="rId1" Type="http://schemas.openxmlformats.org/officeDocument/2006/relationships/tags" Target="../tags/tag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8.xml"/><Relationship Id="rId1" Type="http://schemas.openxmlformats.org/officeDocument/2006/relationships/tags" Target="../tags/tag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7" Type="http://schemas.openxmlformats.org/officeDocument/2006/relationships/image" Target="../media/image60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59.jpeg"/><Relationship Id="rId5" Type="http://schemas.openxmlformats.org/officeDocument/2006/relationships/image" Target="../media/image58.jpeg"/><Relationship Id="rId4" Type="http://schemas.openxmlformats.org/officeDocument/2006/relationships/image" Target="../media/image57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4.jpeg"/><Relationship Id="rId18" Type="http://schemas.openxmlformats.org/officeDocument/2006/relationships/image" Target="../media/image29.jpeg"/><Relationship Id="rId26" Type="http://schemas.openxmlformats.org/officeDocument/2006/relationships/image" Target="../media/image37.jpeg"/><Relationship Id="rId39" Type="http://schemas.openxmlformats.org/officeDocument/2006/relationships/image" Target="../media/image50.gif"/><Relationship Id="rId21" Type="http://schemas.openxmlformats.org/officeDocument/2006/relationships/image" Target="../media/image32.jpeg"/><Relationship Id="rId34" Type="http://schemas.openxmlformats.org/officeDocument/2006/relationships/image" Target="../media/image45.gif"/><Relationship Id="rId42" Type="http://schemas.openxmlformats.org/officeDocument/2006/relationships/image" Target="../media/image53.gif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27.jpeg"/><Relationship Id="rId20" Type="http://schemas.openxmlformats.org/officeDocument/2006/relationships/image" Target="../media/image31.jpeg"/><Relationship Id="rId29" Type="http://schemas.openxmlformats.org/officeDocument/2006/relationships/image" Target="../media/image40.gif"/><Relationship Id="rId41" Type="http://schemas.openxmlformats.org/officeDocument/2006/relationships/image" Target="../media/image52.gif"/><Relationship Id="rId1" Type="http://schemas.openxmlformats.org/officeDocument/2006/relationships/tags" Target="../tags/tag2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24" Type="http://schemas.openxmlformats.org/officeDocument/2006/relationships/image" Target="../media/image35.jpeg"/><Relationship Id="rId32" Type="http://schemas.openxmlformats.org/officeDocument/2006/relationships/image" Target="../media/image43.gif"/><Relationship Id="rId37" Type="http://schemas.openxmlformats.org/officeDocument/2006/relationships/image" Target="../media/image48.gif"/><Relationship Id="rId40" Type="http://schemas.openxmlformats.org/officeDocument/2006/relationships/image" Target="../media/image51.tiff"/><Relationship Id="rId5" Type="http://schemas.openxmlformats.org/officeDocument/2006/relationships/image" Target="../media/image16.png"/><Relationship Id="rId15" Type="http://schemas.openxmlformats.org/officeDocument/2006/relationships/image" Target="../media/image26.jpeg"/><Relationship Id="rId23" Type="http://schemas.openxmlformats.org/officeDocument/2006/relationships/image" Target="../media/image34.jpeg"/><Relationship Id="rId28" Type="http://schemas.openxmlformats.org/officeDocument/2006/relationships/image" Target="../media/image39.gif"/><Relationship Id="rId36" Type="http://schemas.openxmlformats.org/officeDocument/2006/relationships/image" Target="../media/image47.gif"/><Relationship Id="rId10" Type="http://schemas.openxmlformats.org/officeDocument/2006/relationships/image" Target="../media/image21.png"/><Relationship Id="rId19" Type="http://schemas.openxmlformats.org/officeDocument/2006/relationships/image" Target="../media/image30.jpeg"/><Relationship Id="rId31" Type="http://schemas.openxmlformats.org/officeDocument/2006/relationships/image" Target="../media/image42.gif"/><Relationship Id="rId44" Type="http://schemas.openxmlformats.org/officeDocument/2006/relationships/image" Target="../media/image55.gif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jpeg"/><Relationship Id="rId22" Type="http://schemas.openxmlformats.org/officeDocument/2006/relationships/image" Target="../media/image33.jpeg"/><Relationship Id="rId27" Type="http://schemas.openxmlformats.org/officeDocument/2006/relationships/image" Target="../media/image38.gif"/><Relationship Id="rId30" Type="http://schemas.openxmlformats.org/officeDocument/2006/relationships/image" Target="../media/image41.gif"/><Relationship Id="rId35" Type="http://schemas.openxmlformats.org/officeDocument/2006/relationships/image" Target="../media/image46.gif"/><Relationship Id="rId43" Type="http://schemas.openxmlformats.org/officeDocument/2006/relationships/image" Target="../media/image54.jpeg"/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12" Type="http://schemas.openxmlformats.org/officeDocument/2006/relationships/image" Target="../media/image23.png"/><Relationship Id="rId17" Type="http://schemas.openxmlformats.org/officeDocument/2006/relationships/image" Target="../media/image28.jpeg"/><Relationship Id="rId25" Type="http://schemas.openxmlformats.org/officeDocument/2006/relationships/image" Target="../media/image36.jpeg"/><Relationship Id="rId33" Type="http://schemas.openxmlformats.org/officeDocument/2006/relationships/image" Target="../media/image44.gif"/><Relationship Id="rId38" Type="http://schemas.openxmlformats.org/officeDocument/2006/relationships/image" Target="../media/image49.gi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8.xml"/><Relationship Id="rId1" Type="http://schemas.openxmlformats.org/officeDocument/2006/relationships/tags" Target="../tags/tag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8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">
            <a:extLst>
              <a:ext uri="{FF2B5EF4-FFF2-40B4-BE49-F238E27FC236}">
                <a16:creationId xmlns:a16="http://schemas.microsoft.com/office/drawing/2014/main" id="{F8AD31E8-DCA6-A8FB-01B3-5E5F0A3A6B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1AD23A5-B4F6-E6CF-B649-CB0B48EE1B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263" y="4411227"/>
            <a:ext cx="5112709" cy="490001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31CD56B5-00E8-5DBA-D0E2-3566E8F75F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263" y="369888"/>
            <a:ext cx="552450" cy="609600"/>
          </a:xfrm>
        </p:spPr>
        <p:txBody>
          <a:bodyPr/>
          <a:lstStyle/>
          <a:p>
            <a:endParaRPr lang="en-US"/>
          </a:p>
        </p:txBody>
      </p:sp>
      <p:pic>
        <p:nvPicPr>
          <p:cNvPr id="2050" name="Picture 2" descr="Behind The Curtain Images – Browse 13,893 Stock Photos, Vectors, and Video  | Adobe Stock">
            <a:extLst>
              <a:ext uri="{FF2B5EF4-FFF2-40B4-BE49-F238E27FC236}">
                <a16:creationId xmlns:a16="http://schemas.microsoft.com/office/drawing/2014/main" id="{A93B3A55-9B2A-94A7-EB9A-70CEE5EA8C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72" y="0"/>
            <a:ext cx="9123028" cy="5161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4C73048-1EE8-AD59-2E53-83C4386809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29959" y="1908785"/>
            <a:ext cx="5337406" cy="1770169"/>
          </a:xfrm>
        </p:spPr>
        <p:txBody>
          <a:bodyPr anchor="t">
            <a:normAutofit/>
          </a:bodyPr>
          <a:lstStyle/>
          <a:p>
            <a:pPr algn="ctr"/>
            <a:r>
              <a:rPr lang="en-US" dirty="0"/>
              <a:t>Behind the Curtain:</a:t>
            </a:r>
            <a:br>
              <a:rPr lang="en-US" dirty="0"/>
            </a:br>
            <a:r>
              <a:rPr lang="en-US" dirty="0"/>
              <a:t>Scientific Editing </a:t>
            </a:r>
            <a:br>
              <a:rPr lang="en-US" dirty="0"/>
            </a:br>
            <a:r>
              <a:rPr lang="en-US" dirty="0"/>
              <a:t>at </a:t>
            </a:r>
            <a:r>
              <a:rPr lang="en-US" i="1" dirty="0"/>
              <a:t>Immunity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68EC0EB-39E7-DE76-0C72-BB8F547508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60772" y="4030227"/>
            <a:ext cx="2075780" cy="762000"/>
          </a:xfrm>
        </p:spPr>
        <p:txBody>
          <a:bodyPr/>
          <a:lstStyle/>
          <a:p>
            <a:r>
              <a:rPr lang="en-US" dirty="0">
                <a:solidFill>
                  <a:srgbClr val="A92B1D"/>
                </a:solidFill>
              </a:rPr>
              <a:t>Jodi </a:t>
            </a:r>
            <a:r>
              <a:rPr lang="en-US" dirty="0" err="1">
                <a:solidFill>
                  <a:srgbClr val="A92B1D"/>
                </a:solidFill>
              </a:rPr>
              <a:t>Gullicksrud</a:t>
            </a:r>
            <a:endParaRPr lang="en-US" dirty="0">
              <a:solidFill>
                <a:srgbClr val="A92B1D"/>
              </a:solidFill>
            </a:endParaRPr>
          </a:p>
          <a:p>
            <a:r>
              <a:rPr lang="en-US" dirty="0">
                <a:solidFill>
                  <a:srgbClr val="A92B1D"/>
                </a:solidFill>
              </a:rPr>
              <a:t>Scientific Editor</a:t>
            </a:r>
          </a:p>
        </p:txBody>
      </p:sp>
    </p:spTree>
    <p:extLst>
      <p:ext uri="{BB962C8B-B14F-4D97-AF65-F5344CB8AC3E}">
        <p14:creationId xmlns:p14="http://schemas.microsoft.com/office/powerpoint/2010/main" val="1246984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U-Turn Arrow 22">
            <a:extLst>
              <a:ext uri="{FF2B5EF4-FFF2-40B4-BE49-F238E27FC236}">
                <a16:creationId xmlns:a16="http://schemas.microsoft.com/office/drawing/2014/main" id="{8F46BD77-522C-4BDD-CEF5-3F3B397A3159}"/>
              </a:ext>
            </a:extLst>
          </p:cNvPr>
          <p:cNvSpPr/>
          <p:nvPr/>
        </p:nvSpPr>
        <p:spPr>
          <a:xfrm rot="10800000">
            <a:off x="3107689" y="3896430"/>
            <a:ext cx="2491996" cy="640599"/>
          </a:xfrm>
          <a:prstGeom prst="uturnArrow">
            <a:avLst>
              <a:gd name="adj1" fmla="val 18662"/>
              <a:gd name="adj2" fmla="val 25000"/>
              <a:gd name="adj3" fmla="val 33497"/>
              <a:gd name="adj4" fmla="val 43750"/>
              <a:gd name="adj5" fmla="val 100000"/>
            </a:avLst>
          </a:prstGeom>
          <a:solidFill>
            <a:schemeClr val="bg1">
              <a:lumMod val="85000"/>
              <a:alpha val="79581"/>
            </a:schemeClr>
          </a:solidFill>
          <a:ln w="28575">
            <a:solidFill>
              <a:schemeClr val="tx1">
                <a:alpha val="80137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5E3AB9-5FA6-B930-213A-353140CF1E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-review paper trajectories</a:t>
            </a:r>
          </a:p>
        </p:txBody>
      </p:sp>
      <p:sp>
        <p:nvSpPr>
          <p:cNvPr id="4" name="Alternate Process 3">
            <a:extLst>
              <a:ext uri="{FF2B5EF4-FFF2-40B4-BE49-F238E27FC236}">
                <a16:creationId xmlns:a16="http://schemas.microsoft.com/office/drawing/2014/main" id="{02560788-D121-F1A3-3716-119906A01097}"/>
              </a:ext>
            </a:extLst>
          </p:cNvPr>
          <p:cNvSpPr/>
          <p:nvPr/>
        </p:nvSpPr>
        <p:spPr>
          <a:xfrm>
            <a:off x="213608" y="1168465"/>
            <a:ext cx="1225148" cy="548640"/>
          </a:xfrm>
          <a:prstGeom prst="flowChartAlternateProcess">
            <a:avLst/>
          </a:prstGeom>
          <a:ln w="1270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Manuscript is submitted</a:t>
            </a:r>
          </a:p>
        </p:txBody>
      </p:sp>
      <p:sp>
        <p:nvSpPr>
          <p:cNvPr id="5" name="Alternate Process 4">
            <a:extLst>
              <a:ext uri="{FF2B5EF4-FFF2-40B4-BE49-F238E27FC236}">
                <a16:creationId xmlns:a16="http://schemas.microsoft.com/office/drawing/2014/main" id="{42859098-A7D5-C5F7-72B4-1B2AD739E701}"/>
              </a:ext>
            </a:extLst>
          </p:cNvPr>
          <p:cNvSpPr/>
          <p:nvPr/>
        </p:nvSpPr>
        <p:spPr>
          <a:xfrm>
            <a:off x="1327214" y="1303918"/>
            <a:ext cx="1328603" cy="548640"/>
          </a:xfrm>
          <a:prstGeom prst="flowChartAlternateProcess">
            <a:avLst/>
          </a:prstGeom>
          <a:solidFill>
            <a:schemeClr val="accent5">
              <a:lumMod val="75000"/>
            </a:schemeClr>
          </a:solidFill>
          <a:ln w="1270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ditorial evaluation</a:t>
            </a:r>
          </a:p>
        </p:txBody>
      </p:sp>
      <p:sp>
        <p:nvSpPr>
          <p:cNvPr id="11" name="Alternate Process 10">
            <a:extLst>
              <a:ext uri="{FF2B5EF4-FFF2-40B4-BE49-F238E27FC236}">
                <a16:creationId xmlns:a16="http://schemas.microsoft.com/office/drawing/2014/main" id="{8F1D7AE6-500F-1E31-391C-EC62EF4D6ABF}"/>
              </a:ext>
            </a:extLst>
          </p:cNvPr>
          <p:cNvSpPr/>
          <p:nvPr/>
        </p:nvSpPr>
        <p:spPr>
          <a:xfrm>
            <a:off x="1517710" y="2190743"/>
            <a:ext cx="947609" cy="54864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Out for Review</a:t>
            </a:r>
          </a:p>
        </p:txBody>
      </p:sp>
      <p:sp>
        <p:nvSpPr>
          <p:cNvPr id="16" name="Right Arrow 15">
            <a:extLst>
              <a:ext uri="{FF2B5EF4-FFF2-40B4-BE49-F238E27FC236}">
                <a16:creationId xmlns:a16="http://schemas.microsoft.com/office/drawing/2014/main" id="{645F0BE1-B6C9-1E08-84E1-7D1A899A5C2B}"/>
              </a:ext>
            </a:extLst>
          </p:cNvPr>
          <p:cNvSpPr/>
          <p:nvPr/>
        </p:nvSpPr>
        <p:spPr>
          <a:xfrm>
            <a:off x="2658019" y="1463938"/>
            <a:ext cx="274320" cy="228600"/>
          </a:xfrm>
          <a:prstGeom prst="rightArrow">
            <a:avLst/>
          </a:prstGeom>
          <a:solidFill>
            <a:schemeClr val="tx2">
              <a:lumMod val="10000"/>
              <a:lumOff val="9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29" name="Right Arrow 28">
            <a:extLst>
              <a:ext uri="{FF2B5EF4-FFF2-40B4-BE49-F238E27FC236}">
                <a16:creationId xmlns:a16="http://schemas.microsoft.com/office/drawing/2014/main" id="{F7D1C5AC-0444-4CB1-2FE5-EAA2111E77C1}"/>
              </a:ext>
            </a:extLst>
          </p:cNvPr>
          <p:cNvSpPr/>
          <p:nvPr/>
        </p:nvSpPr>
        <p:spPr>
          <a:xfrm rot="5400000">
            <a:off x="1859659" y="1879428"/>
            <a:ext cx="274320" cy="228600"/>
          </a:xfrm>
          <a:prstGeom prst="rightArrow">
            <a:avLst/>
          </a:prstGeom>
          <a:solidFill>
            <a:schemeClr val="tx2">
              <a:lumMod val="10000"/>
              <a:lumOff val="9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6" name="Alternate Process 5">
            <a:extLst>
              <a:ext uri="{FF2B5EF4-FFF2-40B4-BE49-F238E27FC236}">
                <a16:creationId xmlns:a16="http://schemas.microsoft.com/office/drawing/2014/main" id="{932223E9-9052-11CE-0D8B-BE20A2948DDE}"/>
              </a:ext>
            </a:extLst>
          </p:cNvPr>
          <p:cNvSpPr/>
          <p:nvPr/>
        </p:nvSpPr>
        <p:spPr>
          <a:xfrm>
            <a:off x="2328348" y="2344248"/>
            <a:ext cx="1787282" cy="683175"/>
          </a:xfrm>
          <a:prstGeom prst="flowChartAlternateProcess">
            <a:avLst/>
          </a:prstGeom>
          <a:solidFill>
            <a:schemeClr val="accent5">
              <a:lumMod val="75000"/>
            </a:schemeClr>
          </a:solidFill>
          <a:ln w="1270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ditorial evaluation of </a:t>
            </a:r>
            <a:r>
              <a:rPr lang="en-US" sz="1400" dirty="0" err="1"/>
              <a:t>ms</a:t>
            </a:r>
            <a:r>
              <a:rPr lang="en-US" sz="1400" dirty="0"/>
              <a:t> and reviewer reports</a:t>
            </a:r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8AE6869F-295E-502D-3B8E-A36C2CEBA83C}"/>
              </a:ext>
            </a:extLst>
          </p:cNvPr>
          <p:cNvSpPr/>
          <p:nvPr/>
        </p:nvSpPr>
        <p:spPr>
          <a:xfrm rot="16200000">
            <a:off x="3408414" y="1947009"/>
            <a:ext cx="502920" cy="228600"/>
          </a:xfrm>
          <a:prstGeom prst="rightArrow">
            <a:avLst/>
          </a:prstGeom>
          <a:solidFill>
            <a:schemeClr val="tx2">
              <a:lumMod val="10000"/>
              <a:lumOff val="9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AF296FEE-0924-CE81-80C3-6DFA5E8836B2}"/>
              </a:ext>
            </a:extLst>
          </p:cNvPr>
          <p:cNvSpPr/>
          <p:nvPr/>
        </p:nvSpPr>
        <p:spPr>
          <a:xfrm rot="5400000">
            <a:off x="3084829" y="3066628"/>
            <a:ext cx="274320" cy="228600"/>
          </a:xfrm>
          <a:prstGeom prst="rightArrow">
            <a:avLst/>
          </a:prstGeom>
          <a:solidFill>
            <a:schemeClr val="tx2">
              <a:lumMod val="10000"/>
              <a:lumOff val="9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3" name="Alternate Process 12">
            <a:extLst>
              <a:ext uri="{FF2B5EF4-FFF2-40B4-BE49-F238E27FC236}">
                <a16:creationId xmlns:a16="http://schemas.microsoft.com/office/drawing/2014/main" id="{7DA37D35-73C1-D50D-9081-B5B1683C7CA3}"/>
              </a:ext>
            </a:extLst>
          </p:cNvPr>
          <p:cNvSpPr/>
          <p:nvPr/>
        </p:nvSpPr>
        <p:spPr>
          <a:xfrm>
            <a:off x="2645059" y="3352539"/>
            <a:ext cx="1153860" cy="548640"/>
          </a:xfrm>
          <a:prstGeom prst="flowChartAlternateProcess">
            <a:avLst/>
          </a:prstGeom>
          <a:ln w="1270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Revise and resubmit</a:t>
            </a:r>
          </a:p>
        </p:txBody>
      </p:sp>
      <p:sp>
        <p:nvSpPr>
          <p:cNvPr id="17" name="Alternate Process 16">
            <a:extLst>
              <a:ext uri="{FF2B5EF4-FFF2-40B4-BE49-F238E27FC236}">
                <a16:creationId xmlns:a16="http://schemas.microsoft.com/office/drawing/2014/main" id="{E3CFAD7D-DAC6-C1A1-1E5E-A7AA47366327}"/>
              </a:ext>
            </a:extLst>
          </p:cNvPr>
          <p:cNvSpPr/>
          <p:nvPr/>
        </p:nvSpPr>
        <p:spPr>
          <a:xfrm>
            <a:off x="3811101" y="3351800"/>
            <a:ext cx="947609" cy="548640"/>
          </a:xfrm>
          <a:prstGeom prst="flowChartAlternateProcess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Out for Review</a:t>
            </a:r>
          </a:p>
        </p:txBody>
      </p:sp>
      <p:sp>
        <p:nvSpPr>
          <p:cNvPr id="18" name="Alternate Process 17">
            <a:extLst>
              <a:ext uri="{FF2B5EF4-FFF2-40B4-BE49-F238E27FC236}">
                <a16:creationId xmlns:a16="http://schemas.microsoft.com/office/drawing/2014/main" id="{95B0A0B9-79C4-ADD1-B457-52ED6379BE29}"/>
              </a:ext>
            </a:extLst>
          </p:cNvPr>
          <p:cNvSpPr/>
          <p:nvPr/>
        </p:nvSpPr>
        <p:spPr>
          <a:xfrm>
            <a:off x="4621739" y="3505305"/>
            <a:ext cx="1787282" cy="683175"/>
          </a:xfrm>
          <a:prstGeom prst="flowChartAlternateProcess">
            <a:avLst/>
          </a:prstGeom>
          <a:solidFill>
            <a:schemeClr val="accent5">
              <a:lumMod val="75000"/>
            </a:schemeClr>
          </a:solidFill>
          <a:ln w="1270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ditorial evaluation of </a:t>
            </a:r>
            <a:r>
              <a:rPr lang="en-US" sz="1400" dirty="0" err="1"/>
              <a:t>ms</a:t>
            </a:r>
            <a:r>
              <a:rPr lang="en-US" sz="1400" dirty="0"/>
              <a:t> and reviewer reports</a:t>
            </a:r>
          </a:p>
        </p:txBody>
      </p:sp>
      <p:sp>
        <p:nvSpPr>
          <p:cNvPr id="24" name="Alternate Process 23">
            <a:extLst>
              <a:ext uri="{FF2B5EF4-FFF2-40B4-BE49-F238E27FC236}">
                <a16:creationId xmlns:a16="http://schemas.microsoft.com/office/drawing/2014/main" id="{93ABA5E7-5B11-1825-989A-951405C03501}"/>
              </a:ext>
            </a:extLst>
          </p:cNvPr>
          <p:cNvSpPr/>
          <p:nvPr/>
        </p:nvSpPr>
        <p:spPr>
          <a:xfrm>
            <a:off x="6950939" y="1194223"/>
            <a:ext cx="1191751" cy="548640"/>
          </a:xfrm>
          <a:prstGeom prst="flowChartAlternateProcess">
            <a:avLst/>
          </a:prstGeom>
          <a:solidFill>
            <a:schemeClr val="accent1">
              <a:lumMod val="50000"/>
            </a:schemeClr>
          </a:solidFill>
          <a:ln w="3175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Accepted</a:t>
            </a:r>
          </a:p>
          <a:p>
            <a:pPr algn="ctr"/>
            <a:r>
              <a:rPr lang="en-US" sz="1400" dirty="0"/>
              <a:t> in Principle</a:t>
            </a:r>
          </a:p>
        </p:txBody>
      </p:sp>
      <p:sp>
        <p:nvSpPr>
          <p:cNvPr id="25" name="Bent Arrow 24">
            <a:extLst>
              <a:ext uri="{FF2B5EF4-FFF2-40B4-BE49-F238E27FC236}">
                <a16:creationId xmlns:a16="http://schemas.microsoft.com/office/drawing/2014/main" id="{C2546B3B-0852-7961-AED6-21DA2FC44AD9}"/>
              </a:ext>
            </a:extLst>
          </p:cNvPr>
          <p:cNvSpPr/>
          <p:nvPr/>
        </p:nvSpPr>
        <p:spPr>
          <a:xfrm>
            <a:off x="5794401" y="1350697"/>
            <a:ext cx="1083855" cy="2130484"/>
          </a:xfrm>
          <a:prstGeom prst="bentArrow">
            <a:avLst>
              <a:gd name="adj1" fmla="val 9945"/>
              <a:gd name="adj2" fmla="val 11608"/>
              <a:gd name="adj3" fmla="val 20095"/>
              <a:gd name="adj4" fmla="val 34169"/>
            </a:avLst>
          </a:prstGeom>
          <a:solidFill>
            <a:schemeClr val="bg1">
              <a:lumMod val="8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315FD2CB-630A-622A-4F32-B4E09454BB43}"/>
              </a:ext>
            </a:extLst>
          </p:cNvPr>
          <p:cNvSpPr/>
          <p:nvPr/>
        </p:nvSpPr>
        <p:spPr>
          <a:xfrm rot="5400000">
            <a:off x="7409654" y="1776651"/>
            <a:ext cx="274320" cy="228600"/>
          </a:xfrm>
          <a:prstGeom prst="rightArrow">
            <a:avLst/>
          </a:prstGeom>
          <a:solidFill>
            <a:schemeClr val="tx2">
              <a:lumMod val="10000"/>
              <a:lumOff val="9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27" name="Alternate Process 26">
            <a:extLst>
              <a:ext uri="{FF2B5EF4-FFF2-40B4-BE49-F238E27FC236}">
                <a16:creationId xmlns:a16="http://schemas.microsoft.com/office/drawing/2014/main" id="{ED19A23F-8D0F-D6BB-5973-14661AC7F4AE}"/>
              </a:ext>
            </a:extLst>
          </p:cNvPr>
          <p:cNvSpPr/>
          <p:nvPr/>
        </p:nvSpPr>
        <p:spPr>
          <a:xfrm>
            <a:off x="6653173" y="2073110"/>
            <a:ext cx="1787282" cy="683175"/>
          </a:xfrm>
          <a:prstGeom prst="flowChartAlternateProcess">
            <a:avLst/>
          </a:prstGeom>
          <a:solidFill>
            <a:schemeClr val="accent5">
              <a:lumMod val="75000"/>
            </a:schemeClr>
          </a:solidFill>
          <a:ln w="1270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ditorial feedback on journal style and scientific clarity</a:t>
            </a:r>
          </a:p>
        </p:txBody>
      </p:sp>
      <p:sp>
        <p:nvSpPr>
          <p:cNvPr id="28" name="Alternate Process 27">
            <a:extLst>
              <a:ext uri="{FF2B5EF4-FFF2-40B4-BE49-F238E27FC236}">
                <a16:creationId xmlns:a16="http://schemas.microsoft.com/office/drawing/2014/main" id="{22EE1614-1FFD-B271-D2E2-BB20B2BBDEAA}"/>
              </a:ext>
            </a:extLst>
          </p:cNvPr>
          <p:cNvSpPr/>
          <p:nvPr/>
        </p:nvSpPr>
        <p:spPr>
          <a:xfrm>
            <a:off x="7089614" y="3091664"/>
            <a:ext cx="914400" cy="365760"/>
          </a:xfrm>
          <a:prstGeom prst="flowChartAlternateProcess">
            <a:avLst/>
          </a:prstGeom>
          <a:ln w="1270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Finalize</a:t>
            </a:r>
          </a:p>
        </p:txBody>
      </p:sp>
      <p:sp>
        <p:nvSpPr>
          <p:cNvPr id="31" name="Right Arrow 30">
            <a:extLst>
              <a:ext uri="{FF2B5EF4-FFF2-40B4-BE49-F238E27FC236}">
                <a16:creationId xmlns:a16="http://schemas.microsoft.com/office/drawing/2014/main" id="{DADFCE17-0A41-A12C-BE47-150149FEBDB6}"/>
              </a:ext>
            </a:extLst>
          </p:cNvPr>
          <p:cNvSpPr/>
          <p:nvPr/>
        </p:nvSpPr>
        <p:spPr>
          <a:xfrm rot="5400000">
            <a:off x="7409654" y="2772301"/>
            <a:ext cx="274320" cy="228600"/>
          </a:xfrm>
          <a:prstGeom prst="rightArrow">
            <a:avLst/>
          </a:prstGeom>
          <a:solidFill>
            <a:schemeClr val="tx2">
              <a:lumMod val="10000"/>
              <a:lumOff val="9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32" name="Right Arrow 31">
            <a:extLst>
              <a:ext uri="{FF2B5EF4-FFF2-40B4-BE49-F238E27FC236}">
                <a16:creationId xmlns:a16="http://schemas.microsoft.com/office/drawing/2014/main" id="{84EF1835-0521-3628-EF1E-DFC42F15C0F8}"/>
              </a:ext>
            </a:extLst>
          </p:cNvPr>
          <p:cNvSpPr/>
          <p:nvPr/>
        </p:nvSpPr>
        <p:spPr>
          <a:xfrm rot="5400000">
            <a:off x="7409654" y="3484621"/>
            <a:ext cx="274320" cy="228600"/>
          </a:xfrm>
          <a:prstGeom prst="rightArrow">
            <a:avLst/>
          </a:prstGeom>
          <a:solidFill>
            <a:schemeClr val="tx2">
              <a:lumMod val="10000"/>
              <a:lumOff val="9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33" name="Alternate Process 32">
            <a:extLst>
              <a:ext uri="{FF2B5EF4-FFF2-40B4-BE49-F238E27FC236}">
                <a16:creationId xmlns:a16="http://schemas.microsoft.com/office/drawing/2014/main" id="{DCE1F31C-92D1-A007-CEF5-9C2EE291CBEF}"/>
              </a:ext>
            </a:extLst>
          </p:cNvPr>
          <p:cNvSpPr/>
          <p:nvPr/>
        </p:nvSpPr>
        <p:spPr>
          <a:xfrm>
            <a:off x="6878256" y="3792803"/>
            <a:ext cx="1337116" cy="548640"/>
          </a:xfrm>
          <a:prstGeom prst="flowChartAlternateProcess">
            <a:avLst/>
          </a:prstGeom>
          <a:solidFill>
            <a:srgbClr val="00B050"/>
          </a:solidFill>
          <a:ln w="3175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w="152400" h="1524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ACCEPTED!</a:t>
            </a:r>
          </a:p>
        </p:txBody>
      </p:sp>
      <p:sp>
        <p:nvSpPr>
          <p:cNvPr id="3" name="Alternate Process 2">
            <a:extLst>
              <a:ext uri="{FF2B5EF4-FFF2-40B4-BE49-F238E27FC236}">
                <a16:creationId xmlns:a16="http://schemas.microsoft.com/office/drawing/2014/main" id="{47169331-B2F6-E8CA-DEB7-1B7DFBDCEDD0}"/>
              </a:ext>
            </a:extLst>
          </p:cNvPr>
          <p:cNvSpPr/>
          <p:nvPr/>
        </p:nvSpPr>
        <p:spPr>
          <a:xfrm>
            <a:off x="2993388" y="1400038"/>
            <a:ext cx="1328603" cy="365760"/>
          </a:xfrm>
          <a:prstGeom prst="flowChartAlternateProcess">
            <a:avLst/>
          </a:prstGeom>
          <a:solidFill>
            <a:srgbClr val="A92B1D"/>
          </a:solidFill>
          <a:ln w="1270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No and </a:t>
            </a:r>
            <a:r>
              <a:rPr lang="en-US" sz="1400" i="1" u="sng" dirty="0"/>
              <a:t>why</a:t>
            </a:r>
          </a:p>
        </p:txBody>
      </p:sp>
      <p:sp>
        <p:nvSpPr>
          <p:cNvPr id="8" name="Bent Arrow 7">
            <a:extLst>
              <a:ext uri="{FF2B5EF4-FFF2-40B4-BE49-F238E27FC236}">
                <a16:creationId xmlns:a16="http://schemas.microsoft.com/office/drawing/2014/main" id="{662D82EA-FC15-91C8-AF11-D8430AD94F91}"/>
              </a:ext>
            </a:extLst>
          </p:cNvPr>
          <p:cNvSpPr/>
          <p:nvPr/>
        </p:nvSpPr>
        <p:spPr>
          <a:xfrm flipH="1">
            <a:off x="4348850" y="1421181"/>
            <a:ext cx="1083855" cy="2060000"/>
          </a:xfrm>
          <a:prstGeom prst="bentArrow">
            <a:avLst>
              <a:gd name="adj1" fmla="val 9945"/>
              <a:gd name="adj2" fmla="val 11608"/>
              <a:gd name="adj3" fmla="val 20095"/>
              <a:gd name="adj4" fmla="val 34169"/>
            </a:avLst>
          </a:prstGeom>
          <a:solidFill>
            <a:schemeClr val="bg1">
              <a:lumMod val="85000"/>
              <a:alpha val="79728"/>
            </a:schemeClr>
          </a:solidFill>
          <a:ln w="28575">
            <a:solidFill>
              <a:schemeClr val="tx1">
                <a:alpha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7111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10" grpId="0" animBg="1"/>
      <p:bldP spid="12" grpId="0" animBg="1"/>
      <p:bldP spid="13" grpId="0" animBg="1"/>
      <p:bldP spid="17" grpId="0" animBg="1"/>
      <p:bldP spid="18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31" grpId="0" animBg="1"/>
      <p:bldP spid="32" grpId="0" animBg="1"/>
      <p:bldP spid="33" grpId="0" animBg="1"/>
      <p:bldP spid="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96DF41-509F-DF5A-ED36-80B5C8717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311074"/>
            <a:ext cx="8229600" cy="822960"/>
          </a:xfrm>
        </p:spPr>
        <p:txBody>
          <a:bodyPr/>
          <a:lstStyle/>
          <a:p>
            <a:r>
              <a:rPr lang="en-US" dirty="0"/>
              <a:t>Editorial as a Career Path</a:t>
            </a:r>
          </a:p>
        </p:txBody>
      </p:sp>
    </p:spTree>
    <p:extLst>
      <p:ext uri="{BB962C8B-B14F-4D97-AF65-F5344CB8AC3E}">
        <p14:creationId xmlns:p14="http://schemas.microsoft.com/office/powerpoint/2010/main" val="22515382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F14BF2-F2CE-CC7E-2925-106ADBB75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does an editor do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4C9E20-652F-390D-A3C9-0DF8B35C14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71754"/>
            <a:ext cx="8229600" cy="3490185"/>
          </a:xfrm>
        </p:spPr>
        <p:txBody>
          <a:bodyPr>
            <a:normAutofit/>
          </a:bodyPr>
          <a:lstStyle/>
          <a:p>
            <a:r>
              <a:rPr lang="en-US" dirty="0"/>
              <a:t>Handle manuscripts – </a:t>
            </a:r>
          </a:p>
          <a:p>
            <a:pPr lvl="1"/>
            <a:r>
              <a:rPr lang="en-US" dirty="0"/>
              <a:t>Read, evaluate, and discuss</a:t>
            </a:r>
          </a:p>
          <a:p>
            <a:pPr lvl="1"/>
            <a:r>
              <a:rPr lang="en-US" dirty="0"/>
              <a:t>Edit for scientific clarity, but not proofread</a:t>
            </a:r>
          </a:p>
          <a:p>
            <a:pPr lvl="1"/>
            <a:r>
              <a:rPr lang="en-US" dirty="0"/>
              <a:t>COMMUNICATE – Authors and reviewers, sometimes other editors</a:t>
            </a:r>
          </a:p>
          <a:p>
            <a:endParaRPr lang="en-US" i="1" dirty="0"/>
          </a:p>
          <a:p>
            <a:r>
              <a:rPr lang="en-US" i="1" dirty="0"/>
              <a:t>Immunity</a:t>
            </a:r>
            <a:r>
              <a:rPr lang="en-US" dirty="0"/>
              <a:t>, as a journal</a:t>
            </a:r>
          </a:p>
          <a:p>
            <a:pPr lvl="1"/>
            <a:r>
              <a:rPr lang="en-US" dirty="0"/>
              <a:t>Commission and manage reviews, previews, etc.</a:t>
            </a:r>
          </a:p>
          <a:p>
            <a:pPr lvl="1"/>
            <a:r>
              <a:rPr lang="en-US" dirty="0"/>
              <a:t>Strategic development, special issues, etc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213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F14BF2-F2CE-CC7E-2925-106ADBB75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(else) does an editor do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4C9E20-652F-390D-A3C9-0DF8B35C14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71754"/>
            <a:ext cx="8229600" cy="3490185"/>
          </a:xfrm>
        </p:spPr>
        <p:txBody>
          <a:bodyPr>
            <a:normAutofit/>
          </a:bodyPr>
          <a:lstStyle/>
          <a:p>
            <a:r>
              <a:rPr lang="en-US" dirty="0"/>
              <a:t>Cell Press-wide</a:t>
            </a:r>
          </a:p>
          <a:p>
            <a:pPr lvl="1"/>
            <a:r>
              <a:rPr lang="en-US" dirty="0"/>
              <a:t>Community review</a:t>
            </a:r>
          </a:p>
          <a:p>
            <a:pPr lvl="1"/>
            <a:r>
              <a:rPr lang="en-US" dirty="0"/>
              <a:t>Collections with other journal editors across Cell Press</a:t>
            </a:r>
          </a:p>
          <a:p>
            <a:pPr lvl="1"/>
            <a:r>
              <a:rPr lang="en-US" dirty="0"/>
              <a:t>Cell Symposia and other conferences and webinars</a:t>
            </a:r>
          </a:p>
          <a:p>
            <a:endParaRPr lang="en-US" dirty="0"/>
          </a:p>
          <a:p>
            <a:r>
              <a:rPr lang="en-US" dirty="0"/>
              <a:t>Immunology community engagement</a:t>
            </a:r>
          </a:p>
          <a:p>
            <a:pPr lvl="1"/>
            <a:r>
              <a:rPr lang="en-US" dirty="0"/>
              <a:t>Attend conferences and participate in Meet-the-Editors sessions</a:t>
            </a:r>
          </a:p>
          <a:p>
            <a:pPr lvl="1"/>
            <a:r>
              <a:rPr lang="en-US" dirty="0"/>
              <a:t>Lab visits and 1-on-1 talks with the research community</a:t>
            </a:r>
          </a:p>
          <a:p>
            <a:pPr lvl="1"/>
            <a:r>
              <a:rPr lang="en-US" dirty="0"/>
              <a:t>Keep abreast of themes and advances across the field immunolog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1038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C04B1-89AD-2312-D76E-5906A8CACF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ould I be an editor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66E666-4F16-72FC-5D2E-09684B2A88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81099"/>
            <a:ext cx="4023360" cy="2065021"/>
          </a:xfrm>
        </p:spPr>
        <p:txBody>
          <a:bodyPr/>
          <a:lstStyle/>
          <a:p>
            <a:r>
              <a:rPr lang="en-US" dirty="0"/>
              <a:t>My highlights</a:t>
            </a:r>
          </a:p>
          <a:p>
            <a:pPr lvl="1"/>
            <a:r>
              <a:rPr lang="en-US" dirty="0"/>
              <a:t>Being at the forefront of science</a:t>
            </a:r>
          </a:p>
          <a:p>
            <a:pPr lvl="1"/>
            <a:r>
              <a:rPr lang="en-US" dirty="0"/>
              <a:t>Learning new things across the field</a:t>
            </a:r>
          </a:p>
          <a:p>
            <a:pPr lvl="1"/>
            <a:r>
              <a:rPr lang="en-US" dirty="0"/>
              <a:t>Talking to researchers about their science</a:t>
            </a:r>
          </a:p>
          <a:p>
            <a:pPr lvl="1"/>
            <a:r>
              <a:rPr lang="en-US" dirty="0"/>
              <a:t>Flexibility</a:t>
            </a:r>
          </a:p>
          <a:p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CB43F19-C29E-E40D-294A-DA14B02675D0}"/>
              </a:ext>
            </a:extLst>
          </p:cNvPr>
          <p:cNvSpPr txBox="1">
            <a:spLocks/>
          </p:cNvSpPr>
          <p:nvPr/>
        </p:nvSpPr>
        <p:spPr>
          <a:xfrm>
            <a:off x="4572000" y="1181098"/>
            <a:ext cx="4151374" cy="206502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88000" indent="-28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Font typeface="Arial" panose="020B0604020202020204" pitchFamily="34" charset="0"/>
              <a:buChar char="•"/>
              <a:tabLst>
                <a:tab pos="266700" algn="l"/>
              </a:tabLst>
              <a:defRPr lang="nl-NL"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6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Arial" panose="020B0604020202020204" pitchFamily="34" charset="0"/>
              <a:buChar char="−"/>
              <a:defRPr lang="nl-NL" sz="15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nl-NL" sz="135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nl-NL"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0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de-DE" sz="105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809750" indent="-1952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2163" indent="-17621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336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8738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kill set</a:t>
            </a:r>
          </a:p>
          <a:p>
            <a:pPr lvl="1"/>
            <a:r>
              <a:rPr lang="en-US" dirty="0"/>
              <a:t>Time management and delivery on deadlines</a:t>
            </a:r>
          </a:p>
          <a:p>
            <a:pPr lvl="1"/>
            <a:r>
              <a:rPr lang="en-US" dirty="0"/>
              <a:t>Professional and courteous communication</a:t>
            </a:r>
          </a:p>
          <a:p>
            <a:pPr lvl="1"/>
            <a:r>
              <a:rPr lang="en-US" dirty="0"/>
              <a:t>Networking</a:t>
            </a:r>
          </a:p>
          <a:p>
            <a:pPr lvl="1"/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599050-9081-03D9-B2D1-868D3385F12A}"/>
              </a:ext>
            </a:extLst>
          </p:cNvPr>
          <p:cNvSpPr txBox="1"/>
          <p:nvPr/>
        </p:nvSpPr>
        <p:spPr>
          <a:xfrm>
            <a:off x="1576560" y="3244704"/>
            <a:ext cx="580800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What can you to do now?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Expand your knowledge base (and see if you like it) 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Talk to an editor – conferences, lab visits, or email</a:t>
            </a:r>
          </a:p>
          <a:p>
            <a:pPr marL="285750" indent="-285750">
              <a:buFontTx/>
              <a:buChar char="-"/>
            </a:pPr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Cell Press internship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26031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/>
      <p:bldP spid="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453B4A-7306-FC21-605A-0975DF41B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Thank you!</a:t>
            </a:r>
          </a:p>
        </p:txBody>
      </p:sp>
      <p:pic>
        <p:nvPicPr>
          <p:cNvPr id="5" name="Picture 2" descr="On the cover: In this issue, Wang et al. (pages 1410–1428) report comprehensive multi-omics&#10;analyses of blood from people afflicted with breakthrough SARS-CoV-2 Omicron infections.&#10;These analyses reveal an enrichment for platelet-immune cell interactions in breakthrough&#10;SARS-CoV-2 Omicron infections, as well as a correlation between weak humoral responses&#10;to the virus and re-infection. The complex interactons between blood components (cells&#10;and metabolites) and the virus are depicted as an ecosystem (front star), adapted&#10;from the ocean and earth ecosystems (second and third stars) in the background. In&#10;health (lower bloodstream), plasma proteins and metabolites (different colored shapes&#10;and dots) flow undisturbed. SARS-CoV-2 Omicron infection disrupts this balance, as&#10;depicted by the invading purple color, and promotes aggregates between platelets and&#10;immune cells and interferon-associated signatures (bright dots) in circulating platelets.&#10;Illustration by Wenxi Ye.">
            <a:extLst>
              <a:ext uri="{FF2B5EF4-FFF2-40B4-BE49-F238E27FC236}">
                <a16:creationId xmlns:a16="http://schemas.microsoft.com/office/drawing/2014/main" id="{D67C822E-7A92-D186-8F0E-C0AB1061E8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096804"/>
            <a:ext cx="2700326" cy="3509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Peter Lee, Ph.D.">
            <a:extLst>
              <a:ext uri="{FF2B5EF4-FFF2-40B4-BE49-F238E27FC236}">
                <a16:creationId xmlns:a16="http://schemas.microsoft.com/office/drawing/2014/main" id="{B94EB9E1-79A1-5DA1-1698-93521D3740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2546" y="1096804"/>
            <a:ext cx="1270000" cy="127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Fabiola Rivas, Ph.D.">
            <a:extLst>
              <a:ext uri="{FF2B5EF4-FFF2-40B4-BE49-F238E27FC236}">
                <a16:creationId xmlns:a16="http://schemas.microsoft.com/office/drawing/2014/main" id="{3377755A-8096-5031-8820-BEFC87C9EF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3637" y="1096804"/>
            <a:ext cx="1270000" cy="127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Bruce Koppelman, Ph.D.">
            <a:extLst>
              <a:ext uri="{FF2B5EF4-FFF2-40B4-BE49-F238E27FC236}">
                <a16:creationId xmlns:a16="http://schemas.microsoft.com/office/drawing/2014/main" id="{80CFF4E3-08C2-839B-D7C7-100EDDE65A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2000" y="2984421"/>
            <a:ext cx="1270000" cy="127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Kavitha Scranton, Ph.D.">
            <a:extLst>
              <a:ext uri="{FF2B5EF4-FFF2-40B4-BE49-F238E27FC236}">
                <a16:creationId xmlns:a16="http://schemas.microsoft.com/office/drawing/2014/main" id="{5EF9CD3B-ED28-4253-4ADE-C67978D351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3091" y="2986591"/>
            <a:ext cx="1270000" cy="127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Jodi Gullicksrud, Ph.D.">
            <a:extLst>
              <a:ext uri="{FF2B5EF4-FFF2-40B4-BE49-F238E27FC236}">
                <a16:creationId xmlns:a16="http://schemas.microsoft.com/office/drawing/2014/main" id="{7F6F70AF-35CA-D4C0-7B60-A6A0073DE6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182" y="2984421"/>
            <a:ext cx="1270000" cy="127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28C7779-808B-813A-193D-E3A5A910D279}"/>
              </a:ext>
            </a:extLst>
          </p:cNvPr>
          <p:cNvSpPr txBox="1"/>
          <p:nvPr/>
        </p:nvSpPr>
        <p:spPr>
          <a:xfrm>
            <a:off x="4331761" y="2328308"/>
            <a:ext cx="13292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Peter Lee,</a:t>
            </a:r>
          </a:p>
          <a:p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Editor-in-Chief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180AD2-A977-80AB-592E-21D182F9D486}"/>
              </a:ext>
            </a:extLst>
          </p:cNvPr>
          <p:cNvSpPr txBox="1"/>
          <p:nvPr/>
        </p:nvSpPr>
        <p:spPr>
          <a:xfrm>
            <a:off x="6578760" y="2328308"/>
            <a:ext cx="126989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Fabiola Rivas</a:t>
            </a:r>
          </a:p>
          <a:p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Deputy Edito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2DDABC7-6CB9-E079-5D5E-88F63E6B61D6}"/>
              </a:ext>
            </a:extLst>
          </p:cNvPr>
          <p:cNvSpPr txBox="1"/>
          <p:nvPr/>
        </p:nvSpPr>
        <p:spPr>
          <a:xfrm>
            <a:off x="3236859" y="4221850"/>
            <a:ext cx="16081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Bruce </a:t>
            </a:r>
            <a:r>
              <a:rPr lang="en-US" sz="1400" dirty="0" err="1">
                <a:solidFill>
                  <a:schemeClr val="bg1">
                    <a:lumMod val="95000"/>
                  </a:schemeClr>
                </a:solidFill>
              </a:rPr>
              <a:t>Koppleman</a:t>
            </a:r>
            <a:endParaRPr lang="en-US" sz="14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ACE6CDB-5353-5FB5-76E1-8546ECFD49DC}"/>
              </a:ext>
            </a:extLst>
          </p:cNvPr>
          <p:cNvSpPr txBox="1"/>
          <p:nvPr/>
        </p:nvSpPr>
        <p:spPr>
          <a:xfrm>
            <a:off x="5445217" y="4221850"/>
            <a:ext cx="15488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Kavitha Scrant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758D005-DFE8-025E-43AD-7DDE9342FC25}"/>
              </a:ext>
            </a:extLst>
          </p:cNvPr>
          <p:cNvSpPr txBox="1"/>
          <p:nvPr/>
        </p:nvSpPr>
        <p:spPr>
          <a:xfrm>
            <a:off x="7631817" y="4221850"/>
            <a:ext cx="14494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95000"/>
                  </a:schemeClr>
                </a:solidFill>
              </a:rPr>
              <a:t>Jodi </a:t>
            </a:r>
            <a:r>
              <a:rPr lang="en-US" sz="1400" dirty="0" err="1">
                <a:solidFill>
                  <a:schemeClr val="bg1">
                    <a:lumMod val="95000"/>
                  </a:schemeClr>
                </a:solidFill>
              </a:rPr>
              <a:t>Gullicksrud</a:t>
            </a:r>
            <a:endParaRPr lang="en-US" sz="1400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350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CBF741-D9A0-0B90-4D53-B5DB4C39D6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227ED5-93DA-40A1-D30A-054F2F34FD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y path</a:t>
            </a:r>
          </a:p>
          <a:p>
            <a:r>
              <a:rPr lang="en-US" dirty="0"/>
              <a:t>Immunity and Cell Press</a:t>
            </a:r>
          </a:p>
          <a:p>
            <a:r>
              <a:rPr lang="en-US" dirty="0"/>
              <a:t>The editorial process and how decisions are made</a:t>
            </a:r>
          </a:p>
          <a:p>
            <a:r>
              <a:rPr lang="en-US" dirty="0"/>
              <a:t>Editorial as a career</a:t>
            </a:r>
          </a:p>
          <a:p>
            <a:r>
              <a:rPr lang="en-US" dirty="0"/>
              <a:t>Q&amp;A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509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7C0DF7-95B6-E905-6D83-94036F003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y path to editori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3AB989-C15C-FB53-5BB5-73E5CC4623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81099"/>
            <a:ext cx="4628981" cy="3423556"/>
          </a:xfrm>
        </p:spPr>
        <p:txBody>
          <a:bodyPr>
            <a:normAutofit/>
          </a:bodyPr>
          <a:lstStyle/>
          <a:p>
            <a:r>
              <a:rPr lang="en-US" dirty="0"/>
              <a:t>2008 B.S. Biology, Math – Drake University</a:t>
            </a:r>
          </a:p>
          <a:p>
            <a:pPr lvl="1"/>
            <a:r>
              <a:rPr lang="en-US" dirty="0"/>
              <a:t>Research: Cell Biology and Ornithology</a:t>
            </a:r>
          </a:p>
          <a:p>
            <a:r>
              <a:rPr lang="en-US" dirty="0"/>
              <a:t>2008-2012 Undergrad Biology Lab Instructor</a:t>
            </a:r>
          </a:p>
          <a:p>
            <a:r>
              <a:rPr lang="en-US" dirty="0"/>
              <a:t>2012-2017 PhD Immunology – U of Iowa</a:t>
            </a:r>
          </a:p>
          <a:p>
            <a:r>
              <a:rPr lang="en-US" dirty="0"/>
              <a:t>2017-2020 Postdoc – U of Pennsylvania</a:t>
            </a:r>
          </a:p>
          <a:p>
            <a:r>
              <a:rPr lang="en-US" dirty="0"/>
              <a:t>2020-present – Editor at Immunity</a:t>
            </a:r>
          </a:p>
          <a:p>
            <a:pPr lvl="1"/>
            <a:r>
              <a:rPr lang="en-US" dirty="0"/>
              <a:t>Focus: Mucosal immunology, Infectious diseases, T cells and ILCs</a:t>
            </a:r>
          </a:p>
        </p:txBody>
      </p:sp>
      <p:pic>
        <p:nvPicPr>
          <p:cNvPr id="2050" name="Picture 2" descr="So many paths, one destination... | Surrealism painting, Painting  illustration, Landscape">
            <a:extLst>
              <a:ext uri="{FF2B5EF4-FFF2-40B4-BE49-F238E27FC236}">
                <a16:creationId xmlns:a16="http://schemas.microsoft.com/office/drawing/2014/main" id="{80AAAF83-4B2B-D9DC-5A9C-8CDC831E1C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6181" y="1181098"/>
            <a:ext cx="3839878" cy="3423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7055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792B8-27ED-EFB9-702D-083F17EF76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stats on </a:t>
            </a:r>
            <a:r>
              <a:rPr lang="en-US" i="1" dirty="0"/>
              <a:t>Immun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EA7B85-2ADE-3303-80C8-036C251ADC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096804"/>
            <a:ext cx="5462353" cy="3584379"/>
          </a:xfrm>
        </p:spPr>
        <p:txBody>
          <a:bodyPr>
            <a:normAutofit/>
          </a:bodyPr>
          <a:lstStyle/>
          <a:p>
            <a:r>
              <a:rPr lang="en-US" dirty="0"/>
              <a:t>Founded in 1994 (we turn 30 next year!)</a:t>
            </a:r>
          </a:p>
          <a:p>
            <a:r>
              <a:rPr lang="en-US" dirty="0"/>
              <a:t>5 full-time editors – all are science PhDs</a:t>
            </a:r>
          </a:p>
          <a:p>
            <a:pPr marL="0" indent="0">
              <a:buNone/>
            </a:pPr>
            <a:endParaRPr lang="en-US" sz="1000" dirty="0"/>
          </a:p>
          <a:p>
            <a:r>
              <a:rPr lang="en-US" dirty="0"/>
              <a:t>https://</a:t>
            </a:r>
            <a:r>
              <a:rPr lang="en-US" dirty="0" err="1"/>
              <a:t>www.cell.com</a:t>
            </a:r>
            <a:r>
              <a:rPr lang="en-US" dirty="0"/>
              <a:t>/immunity/home</a:t>
            </a:r>
          </a:p>
          <a:p>
            <a:r>
              <a:rPr lang="en-US" dirty="0"/>
              <a:t>Follow us on Twitter (X): @</a:t>
            </a:r>
            <a:r>
              <a:rPr lang="en-US" dirty="0" err="1"/>
              <a:t>ImmunityCP</a:t>
            </a:r>
            <a:endParaRPr lang="en-US" dirty="0"/>
          </a:p>
          <a:p>
            <a:pPr marL="0" indent="0">
              <a:buNone/>
            </a:pPr>
            <a:endParaRPr lang="en-US" sz="1000" dirty="0"/>
          </a:p>
          <a:p>
            <a:r>
              <a:rPr lang="en-US" dirty="0"/>
              <a:t>Manuscript formats: Research, Resource, Report</a:t>
            </a:r>
          </a:p>
          <a:p>
            <a:r>
              <a:rPr lang="en-US" dirty="0"/>
              <a:t>Immunity receives &gt;1500 articles per year</a:t>
            </a:r>
            <a:br>
              <a:rPr lang="en-US" dirty="0"/>
            </a:br>
            <a:r>
              <a:rPr lang="en-US" dirty="0"/>
              <a:t>	Every abstract is read by all editors</a:t>
            </a:r>
            <a:br>
              <a:rPr lang="en-US" dirty="0"/>
            </a:br>
            <a:r>
              <a:rPr lang="en-US" dirty="0"/>
              <a:t>	Every paper is read in detail by its HE</a:t>
            </a:r>
            <a:br>
              <a:rPr lang="en-US" dirty="0"/>
            </a:br>
            <a:r>
              <a:rPr lang="en-US" dirty="0"/>
              <a:t>	~30% are sent out for review</a:t>
            </a:r>
          </a:p>
        </p:txBody>
      </p:sp>
      <p:pic>
        <p:nvPicPr>
          <p:cNvPr id="1026" name="Picture 2" descr="On the cover: In this issue, Wang et al. (pages 1410–1428) report comprehensive multi-omics&#10;analyses of blood from people afflicted with breakthrough SARS-CoV-2 Omicron infections.&#10;These analyses reveal an enrichment for platelet-immune cell interactions in breakthrough&#10;SARS-CoV-2 Omicron infections, as well as a correlation between weak humoral responses&#10;to the virus and re-infection. The complex interactons between blood components (cells&#10;and metabolites) and the virus are depicted as an ecosystem (front star), adapted&#10;from the ocean and earth ecosystems (second and third stars) in the background. In&#10;health (lower bloodstream), plasma proteins and metabolites (different colored shapes&#10;and dots) flow undisturbed. SARS-CoV-2 Omicron infection disrupts this balance, as&#10;depicted by the invading purple color, and promotes aggregates between platelets and&#10;immune cells and interferon-associated signatures (bright dots) in circulating platelets.&#10;Illustration by Wenxi Ye.">
            <a:extLst>
              <a:ext uri="{FF2B5EF4-FFF2-40B4-BE49-F238E27FC236}">
                <a16:creationId xmlns:a16="http://schemas.microsoft.com/office/drawing/2014/main" id="{77583766-EA65-6CB4-93FD-5E765E51BA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9553" y="818866"/>
            <a:ext cx="2886989" cy="3752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4870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0DC14B8-1F42-2E18-4C9D-F5577CB337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3845"/>
            <a:ext cx="8229600" cy="617407"/>
          </a:xfrm>
        </p:spPr>
        <p:txBody>
          <a:bodyPr>
            <a:normAutofit/>
          </a:bodyPr>
          <a:lstStyle/>
          <a:p>
            <a:r>
              <a:rPr lang="en-GB"/>
              <a:t>The Cell Press Journal Portfolio</a:t>
            </a:r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75B5DA5-47E7-10A8-9723-D42F68233511}"/>
              </a:ext>
            </a:extLst>
          </p:cNvPr>
          <p:cNvSpPr txBox="1">
            <a:spLocks/>
          </p:cNvSpPr>
          <p:nvPr/>
        </p:nvSpPr>
        <p:spPr>
          <a:xfrm>
            <a:off x="495301" y="22095"/>
            <a:ext cx="7236278" cy="994172"/>
          </a:xfrm>
          <a:prstGeom prst="rect">
            <a:avLst/>
          </a:prstGeom>
          <a:ln w="12700">
            <a:miter lim="400000"/>
          </a:ln>
        </p:spPr>
        <p:txBody>
          <a:bodyPr vert="horz" lIns="45719" tIns="0" rIns="45719" bIns="0" rtlCol="0" anchor="ctr" anchorCtr="0">
            <a:norm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700" kern="1200">
                <a:solidFill>
                  <a:schemeClr val="bg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endParaRPr lang="en-GB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F810F02-E8A1-AA81-8447-D9C6515EDA0A}"/>
              </a:ext>
            </a:extLst>
          </p:cNvPr>
          <p:cNvSpPr txBox="1">
            <a:spLocks/>
          </p:cNvSpPr>
          <p:nvPr/>
        </p:nvSpPr>
        <p:spPr>
          <a:xfrm>
            <a:off x="205673" y="746412"/>
            <a:ext cx="7886700" cy="1202531"/>
          </a:xfrm>
          <a:prstGeom prst="rect">
            <a:avLst/>
          </a:prstGeom>
        </p:spPr>
        <p:txBody>
          <a:bodyPr vert="horz" lIns="0" tIns="0" rIns="0" bIns="0" rtlCol="0">
            <a:normAutofit fontScale="40000" lnSpcReduction="20000"/>
          </a:bodyPr>
          <a:lstStyle>
            <a:lvl1pPr marL="288000" indent="-28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Font typeface="Arial" panose="020B0604020202020204" pitchFamily="34" charset="0"/>
              <a:buChar char="•"/>
              <a:tabLst>
                <a:tab pos="266700" algn="l"/>
              </a:tabLst>
              <a:defRPr lang="nl-NL"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6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Arial" panose="020B0604020202020204" pitchFamily="34" charset="0"/>
              <a:buChar char="−"/>
              <a:defRPr lang="nl-NL" sz="15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nl-NL" sz="135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nl-NL"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0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de-DE" sz="105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809750" indent="-1952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2163" indent="-17621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336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8738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endParaRPr lang="en-US" dirty="0"/>
          </a:p>
          <a:p>
            <a:pPr marL="204755" indent="-204755" defTabSz="858296">
              <a:lnSpc>
                <a:spcPct val="120000"/>
              </a:lnSpc>
              <a:spcBef>
                <a:spcPts val="600"/>
              </a:spcBef>
              <a:buClr>
                <a:schemeClr val="bg1"/>
              </a:buClr>
              <a:defRPr sz="3343">
                <a:latin typeface="Helvetica Neue Light"/>
                <a:ea typeface="Helvetica Neue Light"/>
                <a:cs typeface="Helvetica Neue Light"/>
                <a:sym typeface="Helvetica Neue Light"/>
              </a:defRPr>
            </a:pPr>
            <a:r>
              <a:rPr lang="en-US" sz="3343" dirty="0">
                <a:latin typeface="Calibri" panose="020F0502020204030204" pitchFamily="34" charset="0"/>
                <a:ea typeface="Helvetica Neue Light"/>
                <a:cs typeface="Calibri" panose="020F0502020204030204" pitchFamily="34" charset="0"/>
                <a:sym typeface="Helvetica Neue Light"/>
              </a:rPr>
              <a:t>30 Primary Research Journals (covering life, physical, medical, and environmental sciences) – 9 gold OA journals</a:t>
            </a:r>
          </a:p>
          <a:p>
            <a:pPr marL="204755" indent="-204755" defTabSz="858296">
              <a:lnSpc>
                <a:spcPct val="120000"/>
              </a:lnSpc>
              <a:spcBef>
                <a:spcPts val="600"/>
              </a:spcBef>
              <a:buClr>
                <a:schemeClr val="bg1"/>
              </a:buClr>
              <a:defRPr sz="3343">
                <a:latin typeface="Helvetica Neue Light"/>
                <a:ea typeface="Helvetica Neue Light"/>
                <a:cs typeface="Helvetica Neue Light"/>
                <a:sym typeface="Helvetica Neue Light"/>
              </a:defRPr>
            </a:pPr>
            <a:r>
              <a:rPr lang="en-US" sz="3343" dirty="0">
                <a:latin typeface="Calibri" panose="020F0502020204030204" pitchFamily="34" charset="0"/>
                <a:ea typeface="Helvetica Neue Light"/>
                <a:cs typeface="Calibri" panose="020F0502020204030204" pitchFamily="34" charset="0"/>
                <a:sym typeface="Helvetica Neue Light"/>
              </a:rPr>
              <a:t>16 Trends Review Journals</a:t>
            </a:r>
          </a:p>
          <a:p>
            <a:pPr marL="204755" indent="-204755" defTabSz="858296">
              <a:lnSpc>
                <a:spcPct val="120000"/>
              </a:lnSpc>
              <a:spcBef>
                <a:spcPts val="600"/>
              </a:spcBef>
              <a:buClr>
                <a:schemeClr val="bg1"/>
              </a:buClr>
              <a:defRPr sz="3343">
                <a:latin typeface="Helvetica Neue Light"/>
                <a:ea typeface="Helvetica Neue Light"/>
                <a:cs typeface="Helvetica Neue Light"/>
                <a:sym typeface="Helvetica Neue Light"/>
              </a:defRPr>
            </a:pPr>
            <a:r>
              <a:rPr lang="en-US" sz="3343" dirty="0">
                <a:latin typeface="Calibri" panose="020F0502020204030204" pitchFamily="34" charset="0"/>
                <a:ea typeface="Helvetica Neue Light"/>
                <a:cs typeface="Calibri" panose="020F0502020204030204" pitchFamily="34" charset="0"/>
                <a:sym typeface="Helvetica Neue Light"/>
              </a:rPr>
              <a:t>11 society partner journals (e.g. Mucosal Immunology)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F61D2D2-7A4E-14A6-4EA0-9A4DA00DD1DB}"/>
              </a:ext>
            </a:extLst>
          </p:cNvPr>
          <p:cNvGrpSpPr/>
          <p:nvPr/>
        </p:nvGrpSpPr>
        <p:grpSpPr>
          <a:xfrm>
            <a:off x="223037" y="1990457"/>
            <a:ext cx="8695571" cy="2463498"/>
            <a:chOff x="22328" y="2839139"/>
            <a:chExt cx="11594095" cy="3284664"/>
          </a:xfrm>
        </p:grpSpPr>
        <p:grpSp>
          <p:nvGrpSpPr>
            <p:cNvPr id="22" name="Group 78">
              <a:extLst>
                <a:ext uri="{FF2B5EF4-FFF2-40B4-BE49-F238E27FC236}">
                  <a16:creationId xmlns:a16="http://schemas.microsoft.com/office/drawing/2014/main" id="{B5FC8C03-9A14-2C21-AD23-53BD8D60991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2328" y="2855739"/>
              <a:ext cx="11590642" cy="3268064"/>
              <a:chOff x="-1170080" y="-20145"/>
              <a:chExt cx="16330997" cy="4604639"/>
            </a:xfrm>
          </p:grpSpPr>
          <p:grpSp>
            <p:nvGrpSpPr>
              <p:cNvPr id="45" name="Group 64">
                <a:extLst>
                  <a:ext uri="{FF2B5EF4-FFF2-40B4-BE49-F238E27FC236}">
                    <a16:creationId xmlns:a16="http://schemas.microsoft.com/office/drawing/2014/main" id="{DF1C2738-9F22-E0CA-5026-6105A44AAB04}"/>
                  </a:ext>
                </a:extLst>
              </p:cNvPr>
              <p:cNvGrpSpPr/>
              <p:nvPr/>
            </p:nvGrpSpPr>
            <p:grpSpPr>
              <a:xfrm>
                <a:off x="-1169847" y="-20145"/>
                <a:ext cx="12822468" cy="3048297"/>
                <a:chOff x="-1169847" y="-20144"/>
                <a:chExt cx="12822467" cy="3048295"/>
              </a:xfrm>
            </p:grpSpPr>
            <p:pic>
              <p:nvPicPr>
                <p:cNvPr id="10240" name="Picture 19" descr="Picture 19">
                  <a:extLst>
                    <a:ext uri="{FF2B5EF4-FFF2-40B4-BE49-F238E27FC236}">
                      <a16:creationId xmlns:a16="http://schemas.microsoft.com/office/drawing/2014/main" id="{1C46C8FA-E276-3820-705E-C7259809162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4614892" y="1474590"/>
                  <a:ext cx="1169544" cy="1525017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  <p:pic>
              <p:nvPicPr>
                <p:cNvPr id="10241" name="Picture 20" descr="Picture 20">
                  <a:extLst>
                    <a:ext uri="{FF2B5EF4-FFF2-40B4-BE49-F238E27FC236}">
                      <a16:creationId xmlns:a16="http://schemas.microsoft.com/office/drawing/2014/main" id="{2C2A388B-1F91-1F98-47E0-924C61B0B1C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188449" y="1474589"/>
                  <a:ext cx="1169544" cy="1525018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  <p:pic>
              <p:nvPicPr>
                <p:cNvPr id="10243" name="Picture 22" descr="Picture 22">
                  <a:extLst>
                    <a:ext uri="{FF2B5EF4-FFF2-40B4-BE49-F238E27FC236}">
                      <a16:creationId xmlns:a16="http://schemas.microsoft.com/office/drawing/2014/main" id="{B10BC23E-A509-480F-0C90-309A8E6615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9307075" y="-20144"/>
                  <a:ext cx="1169545" cy="1525017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  <p:pic>
              <p:nvPicPr>
                <p:cNvPr id="10244" name="Picture 24" descr="Picture 24">
                  <a:extLst>
                    <a:ext uri="{FF2B5EF4-FFF2-40B4-BE49-F238E27FC236}">
                      <a16:creationId xmlns:a16="http://schemas.microsoft.com/office/drawing/2014/main" id="{CB23E83B-12BA-EA11-C705-94AE1916B6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2321336" y="1503135"/>
                  <a:ext cx="1169544" cy="1525016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  <p:pic>
              <p:nvPicPr>
                <p:cNvPr id="10245" name="Picture 27" descr="Picture 27">
                  <a:extLst>
                    <a:ext uri="{FF2B5EF4-FFF2-40B4-BE49-F238E27FC236}">
                      <a16:creationId xmlns:a16="http://schemas.microsoft.com/office/drawing/2014/main" id="{F0A33C23-F649-E38C-73DC-27623D818D5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8145623" y="-16352"/>
                  <a:ext cx="1165305" cy="1519486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  <p:pic>
              <p:nvPicPr>
                <p:cNvPr id="10246" name="Picture 29" descr="Picture 29">
                  <a:extLst>
                    <a:ext uri="{FF2B5EF4-FFF2-40B4-BE49-F238E27FC236}">
                      <a16:creationId xmlns:a16="http://schemas.microsoft.com/office/drawing/2014/main" id="{13C132C1-28D5-9ABC-9B54-4EF36CC0094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10473613" y="-11189"/>
                  <a:ext cx="1179007" cy="1525016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  <p:pic>
              <p:nvPicPr>
                <p:cNvPr id="10247" name="Picture 30" descr="Picture 30">
                  <a:extLst>
                    <a:ext uri="{FF2B5EF4-FFF2-40B4-BE49-F238E27FC236}">
                      <a16:creationId xmlns:a16="http://schemas.microsoft.com/office/drawing/2014/main" id="{03E15A58-FE24-0566-E4D0-C45CF756B38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785" y="1493870"/>
                  <a:ext cx="1169544" cy="1525015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  <p:pic>
              <p:nvPicPr>
                <p:cNvPr id="10248" name="Picture 31" descr="Picture 31">
                  <a:extLst>
                    <a:ext uri="{FF2B5EF4-FFF2-40B4-BE49-F238E27FC236}">
                      <a16:creationId xmlns:a16="http://schemas.microsoft.com/office/drawing/2014/main" id="{CC8F3007-4FBE-246A-F33E-9E3B1AC83D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5801787" y="1495870"/>
                  <a:ext cx="1169544" cy="1525015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  <p:pic>
              <p:nvPicPr>
                <p:cNvPr id="10249" name="Picture 32" descr="Picture 32">
                  <a:extLst>
                    <a:ext uri="{FF2B5EF4-FFF2-40B4-BE49-F238E27FC236}">
                      <a16:creationId xmlns:a16="http://schemas.microsoft.com/office/drawing/2014/main" id="{B3AA02E6-6607-90EC-7890-CB300509EA4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-1169847" y="1474589"/>
                  <a:ext cx="1180900" cy="1525018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</p:grpSp>
          <p:pic>
            <p:nvPicPr>
              <p:cNvPr id="46" name="Picture 65" descr="Picture 65">
                <a:extLst>
                  <a:ext uri="{FF2B5EF4-FFF2-40B4-BE49-F238E27FC236}">
                    <a16:creationId xmlns:a16="http://schemas.microsoft.com/office/drawing/2014/main" id="{777EAB9A-72C0-A8C6-5027-0259CA0A85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3945008" y="1506417"/>
                <a:ext cx="1212693" cy="1543240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47" name="Content Placeholder 3" descr="Content Placeholder 3">
                <a:extLst>
                  <a:ext uri="{FF2B5EF4-FFF2-40B4-BE49-F238E27FC236}">
                    <a16:creationId xmlns:a16="http://schemas.microsoft.com/office/drawing/2014/main" id="{4EF10D7C-A4AA-45F4-4990-5407E5F705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-1170080" y="2994076"/>
                <a:ext cx="1166232" cy="1525802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48" name="Picture 10" descr="Picture 10">
                <a:extLst>
                  <a:ext uri="{FF2B5EF4-FFF2-40B4-BE49-F238E27FC236}">
                    <a16:creationId xmlns:a16="http://schemas.microsoft.com/office/drawing/2014/main" id="{E3289774-0D74-2A50-7FA5-B82C3E5F25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6966466" y="3018888"/>
                <a:ext cx="1173329" cy="1525800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49" name="Picture 14" descr="Picture 14">
                <a:extLst>
                  <a:ext uri="{FF2B5EF4-FFF2-40B4-BE49-F238E27FC236}">
                    <a16:creationId xmlns:a16="http://schemas.microsoft.com/office/drawing/2014/main" id="{E472E190-E90A-C926-F9E8-B68F2B8899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5819986" y="3010477"/>
                <a:ext cx="1178060" cy="1525800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50" name="Picture 15" descr="Picture 15">
                <a:extLst>
                  <a:ext uri="{FF2B5EF4-FFF2-40B4-BE49-F238E27FC236}">
                    <a16:creationId xmlns:a16="http://schemas.microsoft.com/office/drawing/2014/main" id="{5DA70F65-AFB8-C995-4D1E-1F301E2E39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5467" y="3010110"/>
                <a:ext cx="1175693" cy="1525802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51" name="Picture 9" descr="Picture 9">
                <a:extLst>
                  <a:ext uri="{FF2B5EF4-FFF2-40B4-BE49-F238E27FC236}">
                    <a16:creationId xmlns:a16="http://schemas.microsoft.com/office/drawing/2014/main" id="{FFFCB81A-627E-5ECD-42B8-1DD227E30B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13982857" y="3039585"/>
                <a:ext cx="1178060" cy="1525802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52" name="Picture 16" descr="Picture 16">
                <a:extLst>
                  <a:ext uri="{FF2B5EF4-FFF2-40B4-BE49-F238E27FC236}">
                    <a16:creationId xmlns:a16="http://schemas.microsoft.com/office/drawing/2014/main" id="{F913295B-E3FB-86AE-93D2-A7A3F660AE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8134144" y="3018888"/>
                <a:ext cx="1173329" cy="1525800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53" name="Picture 11" descr="Picture 11">
                <a:extLst>
                  <a:ext uri="{FF2B5EF4-FFF2-40B4-BE49-F238E27FC236}">
                    <a16:creationId xmlns:a16="http://schemas.microsoft.com/office/drawing/2014/main" id="{B25B8A9B-9D70-8E7A-BF1A-09B1FFB52E4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11642340" y="3058692"/>
                <a:ext cx="1173330" cy="1525802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54" name="Picture 12" descr="Picture 12">
                <a:extLst>
                  <a:ext uri="{FF2B5EF4-FFF2-40B4-BE49-F238E27FC236}">
                    <a16:creationId xmlns:a16="http://schemas.microsoft.com/office/drawing/2014/main" id="{12DCA397-4383-89E9-C34A-132D915791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12809528" y="3040671"/>
                <a:ext cx="1173329" cy="1525802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55" name="Picture 4" descr="Picture 4">
                <a:extLst>
                  <a:ext uri="{FF2B5EF4-FFF2-40B4-BE49-F238E27FC236}">
                    <a16:creationId xmlns:a16="http://schemas.microsoft.com/office/drawing/2014/main" id="{0EC9F784-6B10-5879-20E0-00F8277858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3478107" y="3018887"/>
                <a:ext cx="1180425" cy="1525802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grpSp>
            <p:nvGrpSpPr>
              <p:cNvPr id="56" name="Group 105">
                <a:extLst>
                  <a:ext uri="{FF2B5EF4-FFF2-40B4-BE49-F238E27FC236}">
                    <a16:creationId xmlns:a16="http://schemas.microsoft.com/office/drawing/2014/main" id="{8241713E-E4CB-5594-AA4A-DE527D731546}"/>
                  </a:ext>
                </a:extLst>
              </p:cNvPr>
              <p:cNvGrpSpPr/>
              <p:nvPr/>
            </p:nvGrpSpPr>
            <p:grpSpPr>
              <a:xfrm>
                <a:off x="1192878" y="3005367"/>
                <a:ext cx="9281783" cy="1533196"/>
                <a:chOff x="-4713978" y="3005366"/>
                <a:chExt cx="9281782" cy="1533195"/>
              </a:xfrm>
            </p:grpSpPr>
            <p:grpSp>
              <p:nvGrpSpPr>
                <p:cNvPr id="58" name="Group 27">
                  <a:extLst>
                    <a:ext uri="{FF2B5EF4-FFF2-40B4-BE49-F238E27FC236}">
                      <a16:creationId xmlns:a16="http://schemas.microsoft.com/office/drawing/2014/main" id="{B7EB597E-4766-1D67-0DA4-A1A3BB4835D5}"/>
                    </a:ext>
                  </a:extLst>
                </p:cNvPr>
                <p:cNvGrpSpPr/>
                <p:nvPr/>
              </p:nvGrpSpPr>
              <p:grpSpPr>
                <a:xfrm>
                  <a:off x="-4713978" y="3005366"/>
                  <a:ext cx="4637708" cy="1530168"/>
                  <a:chOff x="-4713977" y="3005364"/>
                  <a:chExt cx="4637707" cy="1530167"/>
                </a:xfrm>
              </p:grpSpPr>
              <p:grpSp>
                <p:nvGrpSpPr>
                  <p:cNvPr id="60" name="Group 26">
                    <a:extLst>
                      <a:ext uri="{FF2B5EF4-FFF2-40B4-BE49-F238E27FC236}">
                        <a16:creationId xmlns:a16="http://schemas.microsoft.com/office/drawing/2014/main" id="{469223C6-593C-B740-AF54-03BBC5896B88}"/>
                      </a:ext>
                    </a:extLst>
                  </p:cNvPr>
                  <p:cNvGrpSpPr/>
                  <p:nvPr/>
                </p:nvGrpSpPr>
                <p:grpSpPr>
                  <a:xfrm>
                    <a:off x="-4713977" y="3005364"/>
                    <a:ext cx="4637707" cy="1525900"/>
                    <a:chOff x="-8159712" y="3005360"/>
                    <a:chExt cx="4637705" cy="1525898"/>
                  </a:xfrm>
                </p:grpSpPr>
                <p:pic>
                  <p:nvPicPr>
                    <p:cNvPr id="62" name="Picture 5" descr="Picture 5">
                      <a:extLst>
                        <a:ext uri="{FF2B5EF4-FFF2-40B4-BE49-F238E27FC236}">
                          <a16:creationId xmlns:a16="http://schemas.microsoft.com/office/drawing/2014/main" id="{9A858D68-7BB3-F59C-3A40-3C6F01EF1A9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2"/>
                    <a:stretch>
                      <a:fillRect/>
                    </a:stretch>
                  </p:blipFill>
                  <p:spPr>
                    <a:xfrm>
                      <a:off x="-4694477" y="3005360"/>
                      <a:ext cx="1172470" cy="1525898"/>
                    </a:xfrm>
                    <a:prstGeom prst="rect">
                      <a:avLst/>
                    </a:prstGeom>
                    <a:ln w="12700" cap="flat">
                      <a:noFill/>
                      <a:miter lim="400000"/>
                    </a:ln>
                    <a:effectLst/>
                  </p:spPr>
                </p:pic>
                <p:pic>
                  <p:nvPicPr>
                    <p:cNvPr id="63" name="Picture 6" descr="Picture 6">
                      <a:extLst>
                        <a:ext uri="{FF2B5EF4-FFF2-40B4-BE49-F238E27FC236}">
                          <a16:creationId xmlns:a16="http://schemas.microsoft.com/office/drawing/2014/main" id="{53AFCC6D-C8D8-DBBE-C629-C38DF17A9BF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3"/>
                    <a:stretch>
                      <a:fillRect/>
                    </a:stretch>
                  </p:blipFill>
                  <p:spPr>
                    <a:xfrm>
                      <a:off x="-8159712" y="3005361"/>
                      <a:ext cx="1176445" cy="1525897"/>
                    </a:xfrm>
                    <a:prstGeom prst="rect">
                      <a:avLst/>
                    </a:prstGeom>
                    <a:ln w="12700" cap="flat">
                      <a:noFill/>
                      <a:miter lim="400000"/>
                    </a:ln>
                    <a:effectLst/>
                  </p:spPr>
                </p:pic>
              </p:grpSp>
              <p:pic>
                <p:nvPicPr>
                  <p:cNvPr id="61" name="Picture 7" descr="Picture 7">
                    <a:extLst>
                      <a:ext uri="{FF2B5EF4-FFF2-40B4-BE49-F238E27FC236}">
                        <a16:creationId xmlns:a16="http://schemas.microsoft.com/office/drawing/2014/main" id="{7291B862-6119-63F1-55D3-00692DBE4DC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4"/>
                  <a:stretch>
                    <a:fillRect/>
                  </a:stretch>
                </p:blipFill>
                <p:spPr>
                  <a:xfrm>
                    <a:off x="-3579304" y="3009633"/>
                    <a:ext cx="1174455" cy="1525898"/>
                  </a:xfrm>
                  <a:prstGeom prst="rect">
                    <a:avLst/>
                  </a:prstGeom>
                  <a:ln w="12700" cap="flat">
                    <a:noFill/>
                    <a:miter lim="400000"/>
                  </a:ln>
                  <a:effectLst/>
                </p:spPr>
              </p:pic>
            </p:grpSp>
            <p:pic>
              <p:nvPicPr>
                <p:cNvPr id="59" name="Picture 8" descr="Picture 8">
                  <a:extLst>
                    <a:ext uri="{FF2B5EF4-FFF2-40B4-BE49-F238E27FC236}">
                      <a16:creationId xmlns:a16="http://schemas.microsoft.com/office/drawing/2014/main" id="{BBF89B57-B0BE-3242-DDA9-581C09B90D1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3403284" y="3012663"/>
                  <a:ext cx="1164520" cy="1525898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</p:grpSp>
          <p:pic>
            <p:nvPicPr>
              <p:cNvPr id="57" name="Picture 13" descr="Picture 13">
                <a:extLst>
                  <a:ext uri="{FF2B5EF4-FFF2-40B4-BE49-F238E27FC236}">
                    <a16:creationId xmlns:a16="http://schemas.microsoft.com/office/drawing/2014/main" id="{1F3E3E82-8232-9E93-08B5-73FEE91B1E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6"/>
              <a:stretch>
                <a:fillRect/>
              </a:stretch>
            </p:blipFill>
            <p:spPr>
              <a:xfrm>
                <a:off x="10466646" y="3053052"/>
                <a:ext cx="1175693" cy="1525800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08172474-1D5D-53B8-6EA5-20827AE7FDC5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3329794" y="3923719"/>
              <a:ext cx="830064" cy="1082692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F02DEF2F-1B3F-04B4-EA63-695B359BF7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25140" y="2839139"/>
              <a:ext cx="826796" cy="1078430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293E478C-9156-77D2-A50B-22EA9FC92A49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9937414" y="2857049"/>
              <a:ext cx="839721" cy="1095288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B5996CAE-7C85-C182-D758-9DC897464F4E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4964876" y="2861927"/>
              <a:ext cx="830064" cy="1082692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B44881BC-633B-2699-3963-FCE65515E0A8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5805335" y="2864182"/>
              <a:ext cx="826606" cy="1078182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9AF8E4F-FA9F-1DD6-706F-5A227C13B5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10779643" y="2839604"/>
              <a:ext cx="836780" cy="1091452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AE4E7709-275F-687E-C05A-07A4A5AB8F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4141216" y="2856897"/>
              <a:ext cx="828013" cy="1080017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4F979F18-9166-F4AD-FAA1-1D3B6B54F241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/>
            <a:stretch>
              <a:fillRect/>
            </a:stretch>
          </p:blipFill>
          <p:spPr>
            <a:xfrm>
              <a:off x="838680" y="2851050"/>
              <a:ext cx="830064" cy="1082692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0BBD67B8-8397-62CB-A8DE-4932A5A645F5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/>
            <a:stretch>
              <a:fillRect/>
            </a:stretch>
          </p:blipFill>
          <p:spPr>
            <a:xfrm>
              <a:off x="9120200" y="2863263"/>
              <a:ext cx="828013" cy="1080017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479ABC5D-0158-02C5-A1C3-4A5FA4043ED7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/>
            <a:stretch>
              <a:fillRect/>
            </a:stretch>
          </p:blipFill>
          <p:spPr>
            <a:xfrm>
              <a:off x="5805137" y="3945436"/>
              <a:ext cx="823231" cy="1073780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6E004D63-5AD0-3B08-2784-169EDD62C1FB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/>
            <a:stretch>
              <a:fillRect/>
            </a:stretch>
          </p:blipFill>
          <p:spPr>
            <a:xfrm>
              <a:off x="6625636" y="3936778"/>
              <a:ext cx="829853" cy="1082417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C6A9E844-D4AA-18D9-0CA7-8E6CA795C5FF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/>
            <a:stretch>
              <a:fillRect/>
            </a:stretch>
          </p:blipFill>
          <p:spPr>
            <a:xfrm>
              <a:off x="7458432" y="3932013"/>
              <a:ext cx="831275" cy="1084272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C11B7A0F-B825-C443-C358-5CBD6A2FD0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/>
            <a:stretch>
              <a:fillRect/>
            </a:stretch>
          </p:blipFill>
          <p:spPr>
            <a:xfrm>
              <a:off x="8287329" y="3945436"/>
              <a:ext cx="836780" cy="1091452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08E21D54-5825-B352-D6B4-1FB1AB3934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/>
            <a:stretch>
              <a:fillRect/>
            </a:stretch>
          </p:blipFill>
          <p:spPr>
            <a:xfrm>
              <a:off x="1670895" y="2844956"/>
              <a:ext cx="821947" cy="1072612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E809CCA9-0E43-1B46-DF37-5D77832F57AE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/>
            <a:stretch>
              <a:fillRect/>
            </a:stretch>
          </p:blipFill>
          <p:spPr>
            <a:xfrm>
              <a:off x="2494910" y="2850465"/>
              <a:ext cx="829156" cy="1081508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60D194A8-BC9D-C4C6-AFEB-344CCA7B4080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/>
            <a:stretch>
              <a:fillRect/>
            </a:stretch>
          </p:blipFill>
          <p:spPr>
            <a:xfrm>
              <a:off x="3321553" y="2850623"/>
              <a:ext cx="829648" cy="1082150"/>
            </a:xfrm>
            <a:prstGeom prst="rect">
              <a:avLst/>
            </a:prstGeom>
          </p:spPr>
        </p:pic>
        <p:pic>
          <p:nvPicPr>
            <p:cNvPr id="43" name="Picture 2" descr="Star Protocols">
              <a:extLst>
                <a:ext uri="{FF2B5EF4-FFF2-40B4-BE49-F238E27FC236}">
                  <a16:creationId xmlns:a16="http://schemas.microsoft.com/office/drawing/2014/main" id="{E2455A83-5013-6034-9D4D-CF52D6555C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32623" y="3936778"/>
              <a:ext cx="843418" cy="11001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73C95D41-E29F-158A-372F-6B36FC3DDA43}"/>
                </a:ext>
              </a:extLst>
            </p:cNvPr>
            <p:cNvPicPr>
              <a:picLocks noChangeAspect="1"/>
            </p:cNvPicPr>
            <p:nvPr/>
          </p:nvPicPr>
          <p:blipFill>
            <a:blip r:embed="rId44"/>
            <a:stretch>
              <a:fillRect/>
            </a:stretch>
          </p:blipFill>
          <p:spPr>
            <a:xfrm>
              <a:off x="9961015" y="3936778"/>
              <a:ext cx="824927" cy="1075992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2489866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96DF41-509F-DF5A-ED36-80B5C8717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311074"/>
            <a:ext cx="8229600" cy="822960"/>
          </a:xfrm>
        </p:spPr>
        <p:txBody>
          <a:bodyPr/>
          <a:lstStyle/>
          <a:p>
            <a:r>
              <a:rPr lang="en-US" dirty="0"/>
              <a:t>The Editorial Process at </a:t>
            </a:r>
            <a:r>
              <a:rPr lang="en-US" i="1" dirty="0"/>
              <a:t>Immunity</a:t>
            </a:r>
          </a:p>
        </p:txBody>
      </p:sp>
    </p:spTree>
    <p:extLst>
      <p:ext uri="{BB962C8B-B14F-4D97-AF65-F5344CB8AC3E}">
        <p14:creationId xmlns:p14="http://schemas.microsoft.com/office/powerpoint/2010/main" val="8411636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5E3AB9-5FA6-B930-213A-353140CF1E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happens after you click “Submit”?</a:t>
            </a:r>
          </a:p>
        </p:txBody>
      </p:sp>
      <p:sp>
        <p:nvSpPr>
          <p:cNvPr id="4" name="Alternate Process 3">
            <a:extLst>
              <a:ext uri="{FF2B5EF4-FFF2-40B4-BE49-F238E27FC236}">
                <a16:creationId xmlns:a16="http://schemas.microsoft.com/office/drawing/2014/main" id="{02560788-D121-F1A3-3716-119906A01097}"/>
              </a:ext>
            </a:extLst>
          </p:cNvPr>
          <p:cNvSpPr/>
          <p:nvPr/>
        </p:nvSpPr>
        <p:spPr>
          <a:xfrm>
            <a:off x="213608" y="1168465"/>
            <a:ext cx="1225148" cy="548640"/>
          </a:xfrm>
          <a:prstGeom prst="flowChartAlternateProcess">
            <a:avLst/>
          </a:prstGeom>
          <a:ln w="1270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Manuscript is submitted</a:t>
            </a:r>
          </a:p>
        </p:txBody>
      </p:sp>
      <p:sp>
        <p:nvSpPr>
          <p:cNvPr id="5" name="Alternate Process 4">
            <a:extLst>
              <a:ext uri="{FF2B5EF4-FFF2-40B4-BE49-F238E27FC236}">
                <a16:creationId xmlns:a16="http://schemas.microsoft.com/office/drawing/2014/main" id="{42859098-A7D5-C5F7-72B4-1B2AD739E701}"/>
              </a:ext>
            </a:extLst>
          </p:cNvPr>
          <p:cNvSpPr/>
          <p:nvPr/>
        </p:nvSpPr>
        <p:spPr>
          <a:xfrm>
            <a:off x="1332518" y="1303000"/>
            <a:ext cx="1328603" cy="548640"/>
          </a:xfrm>
          <a:prstGeom prst="flowChartAlternateProcess">
            <a:avLst/>
          </a:prstGeom>
          <a:solidFill>
            <a:schemeClr val="accent5">
              <a:lumMod val="75000"/>
            </a:schemeClr>
          </a:solidFill>
          <a:ln w="1270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ditorial evaluation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BCC57F0-1342-1518-21AE-F540F6FFA783}"/>
              </a:ext>
            </a:extLst>
          </p:cNvPr>
          <p:cNvSpPr txBox="1">
            <a:spLocks/>
          </p:cNvSpPr>
          <p:nvPr/>
        </p:nvSpPr>
        <p:spPr>
          <a:xfrm>
            <a:off x="2961187" y="1247279"/>
            <a:ext cx="6041984" cy="457200"/>
          </a:xfrm>
          <a:prstGeom prst="rect">
            <a:avLst/>
          </a:prstGeom>
          <a:ln w="12700">
            <a:miter lim="400000"/>
          </a:ln>
        </p:spPr>
        <p:txBody>
          <a:bodyPr vert="horz" lIns="45719" tIns="0" rIns="45719" bIns="0" rtlCol="0" anchor="ctr" anchorCtr="0">
            <a:norm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7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/>
              <a:t>What we look for in a paper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7E9E758-63BC-84AE-020F-5107B34DB8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63114" y="1821280"/>
            <a:ext cx="6041985" cy="2658123"/>
          </a:xfrm>
        </p:spPr>
        <p:txBody>
          <a:bodyPr/>
          <a:lstStyle/>
          <a:p>
            <a:r>
              <a:rPr lang="en-US" dirty="0"/>
              <a:t>Key question being addressed</a:t>
            </a:r>
          </a:p>
          <a:p>
            <a:r>
              <a:rPr lang="en-US" dirty="0"/>
              <a:t>Scope – Who will be interested?</a:t>
            </a:r>
          </a:p>
          <a:p>
            <a:r>
              <a:rPr lang="en-US" dirty="0"/>
              <a:t>Biological relevance – *Context* When/Why is this phenotype important?</a:t>
            </a:r>
          </a:p>
          <a:p>
            <a:r>
              <a:rPr lang="en-US" dirty="0"/>
              <a:t>Conceptual advance – Where does this move the field?</a:t>
            </a:r>
          </a:p>
          <a:p>
            <a:r>
              <a:rPr lang="en-US" dirty="0"/>
              <a:t>Depth of understanding – How does it work?</a:t>
            </a:r>
          </a:p>
          <a:p>
            <a:pPr lvl="1"/>
            <a:r>
              <a:rPr lang="en-US" dirty="0"/>
              <a:t>This is also dictated by the paper forma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044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" dur="1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10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10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10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10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10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3" grpId="0" animBg="1"/>
      <p:bldP spid="9" grpId="0" uiExpand="1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5E3AB9-5FA6-B930-213A-353140CF1E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itial editorial decision</a:t>
            </a:r>
          </a:p>
        </p:txBody>
      </p:sp>
      <p:sp>
        <p:nvSpPr>
          <p:cNvPr id="4" name="Alternate Process 3">
            <a:extLst>
              <a:ext uri="{FF2B5EF4-FFF2-40B4-BE49-F238E27FC236}">
                <a16:creationId xmlns:a16="http://schemas.microsoft.com/office/drawing/2014/main" id="{02560788-D121-F1A3-3716-119906A01097}"/>
              </a:ext>
            </a:extLst>
          </p:cNvPr>
          <p:cNvSpPr/>
          <p:nvPr/>
        </p:nvSpPr>
        <p:spPr>
          <a:xfrm>
            <a:off x="213608" y="1168465"/>
            <a:ext cx="1225148" cy="548640"/>
          </a:xfrm>
          <a:prstGeom prst="flowChartAlternateProcess">
            <a:avLst/>
          </a:prstGeom>
          <a:ln w="1270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Manuscript is submitted</a:t>
            </a:r>
          </a:p>
        </p:txBody>
      </p:sp>
      <p:sp>
        <p:nvSpPr>
          <p:cNvPr id="5" name="Alternate Process 4">
            <a:extLst>
              <a:ext uri="{FF2B5EF4-FFF2-40B4-BE49-F238E27FC236}">
                <a16:creationId xmlns:a16="http://schemas.microsoft.com/office/drawing/2014/main" id="{42859098-A7D5-C5F7-72B4-1B2AD739E701}"/>
              </a:ext>
            </a:extLst>
          </p:cNvPr>
          <p:cNvSpPr/>
          <p:nvPr/>
        </p:nvSpPr>
        <p:spPr>
          <a:xfrm>
            <a:off x="1327214" y="1303918"/>
            <a:ext cx="1328603" cy="548640"/>
          </a:xfrm>
          <a:prstGeom prst="flowChartAlternateProcess">
            <a:avLst/>
          </a:prstGeom>
          <a:solidFill>
            <a:schemeClr val="accent5">
              <a:lumMod val="75000"/>
            </a:schemeClr>
          </a:solidFill>
          <a:ln w="1270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ditorial evaluation</a:t>
            </a:r>
          </a:p>
        </p:txBody>
      </p:sp>
      <p:sp>
        <p:nvSpPr>
          <p:cNvPr id="11" name="Alternate Process 10">
            <a:extLst>
              <a:ext uri="{FF2B5EF4-FFF2-40B4-BE49-F238E27FC236}">
                <a16:creationId xmlns:a16="http://schemas.microsoft.com/office/drawing/2014/main" id="{8F1D7AE6-500F-1E31-391C-EC62EF4D6ABF}"/>
              </a:ext>
            </a:extLst>
          </p:cNvPr>
          <p:cNvSpPr/>
          <p:nvPr/>
        </p:nvSpPr>
        <p:spPr>
          <a:xfrm>
            <a:off x="1517710" y="2190743"/>
            <a:ext cx="947609" cy="548640"/>
          </a:xfrm>
          <a:prstGeom prst="flowChartAlternateProcess">
            <a:avLst/>
          </a:prstGeom>
          <a:ln w="1270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Out for Review</a:t>
            </a:r>
          </a:p>
        </p:txBody>
      </p:sp>
      <p:sp>
        <p:nvSpPr>
          <p:cNvPr id="16" name="Right Arrow 15">
            <a:extLst>
              <a:ext uri="{FF2B5EF4-FFF2-40B4-BE49-F238E27FC236}">
                <a16:creationId xmlns:a16="http://schemas.microsoft.com/office/drawing/2014/main" id="{645F0BE1-B6C9-1E08-84E1-7D1A899A5C2B}"/>
              </a:ext>
            </a:extLst>
          </p:cNvPr>
          <p:cNvSpPr/>
          <p:nvPr/>
        </p:nvSpPr>
        <p:spPr>
          <a:xfrm>
            <a:off x="2658019" y="1463938"/>
            <a:ext cx="274320" cy="228600"/>
          </a:xfrm>
          <a:prstGeom prst="rightArrow">
            <a:avLst/>
          </a:prstGeom>
          <a:solidFill>
            <a:schemeClr val="tx2">
              <a:lumMod val="10000"/>
              <a:lumOff val="9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29" name="Right Arrow 28">
            <a:extLst>
              <a:ext uri="{FF2B5EF4-FFF2-40B4-BE49-F238E27FC236}">
                <a16:creationId xmlns:a16="http://schemas.microsoft.com/office/drawing/2014/main" id="{F7D1C5AC-0444-4CB1-2FE5-EAA2111E77C1}"/>
              </a:ext>
            </a:extLst>
          </p:cNvPr>
          <p:cNvSpPr/>
          <p:nvPr/>
        </p:nvSpPr>
        <p:spPr>
          <a:xfrm rot="5400000">
            <a:off x="1859659" y="1879428"/>
            <a:ext cx="274320" cy="228600"/>
          </a:xfrm>
          <a:prstGeom prst="rightArrow">
            <a:avLst/>
          </a:prstGeom>
          <a:solidFill>
            <a:schemeClr val="tx2">
              <a:lumMod val="10000"/>
              <a:lumOff val="9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9" name="Alternate Process 8">
            <a:extLst>
              <a:ext uri="{FF2B5EF4-FFF2-40B4-BE49-F238E27FC236}">
                <a16:creationId xmlns:a16="http://schemas.microsoft.com/office/drawing/2014/main" id="{2132F195-B2EF-3B8C-1550-8DA70645BA66}"/>
              </a:ext>
            </a:extLst>
          </p:cNvPr>
          <p:cNvSpPr/>
          <p:nvPr/>
        </p:nvSpPr>
        <p:spPr>
          <a:xfrm>
            <a:off x="2993388" y="1400038"/>
            <a:ext cx="1328603" cy="365760"/>
          </a:xfrm>
          <a:prstGeom prst="flowChartAlternateProcess">
            <a:avLst/>
          </a:prstGeom>
          <a:solidFill>
            <a:srgbClr val="A92B1D"/>
          </a:solidFill>
          <a:ln w="1270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No and </a:t>
            </a:r>
            <a:r>
              <a:rPr lang="en-US" sz="1400" i="1" u="sng" dirty="0"/>
              <a:t>why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4CBB8D4-AD2E-FF83-9C81-14A2876D1328}"/>
              </a:ext>
            </a:extLst>
          </p:cNvPr>
          <p:cNvSpPr txBox="1">
            <a:spLocks/>
          </p:cNvSpPr>
          <p:nvPr/>
        </p:nvSpPr>
        <p:spPr>
          <a:xfrm>
            <a:off x="4659562" y="947997"/>
            <a:ext cx="4270830" cy="822960"/>
          </a:xfrm>
          <a:prstGeom prst="rect">
            <a:avLst/>
          </a:prstGeom>
          <a:ln w="12700">
            <a:miter lim="400000"/>
          </a:ln>
        </p:spPr>
        <p:txBody>
          <a:bodyPr vert="horz" lIns="45719" tIns="0" rIns="45719" bIns="0" rtlCol="0" anchor="ctr" anchorCtr="0">
            <a:norm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7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/>
              <a:t>Components of a </a:t>
            </a:r>
          </a:p>
          <a:p>
            <a:r>
              <a:rPr lang="en-US" sz="2400" dirty="0"/>
              <a:t>(Structured) Reviewer report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4BB0AC8-2325-1985-F429-D4A36B8E9D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64138" y="1959002"/>
            <a:ext cx="4055771" cy="2595814"/>
          </a:xfrm>
        </p:spPr>
        <p:txBody>
          <a:bodyPr/>
          <a:lstStyle/>
          <a:p>
            <a:r>
              <a:rPr lang="en-US" dirty="0"/>
              <a:t>Summary</a:t>
            </a:r>
          </a:p>
          <a:p>
            <a:r>
              <a:rPr lang="en-US" dirty="0"/>
              <a:t>Significance </a:t>
            </a:r>
          </a:p>
          <a:p>
            <a:r>
              <a:rPr lang="en-US" dirty="0"/>
              <a:t>Major Concerns</a:t>
            </a:r>
          </a:p>
          <a:p>
            <a:r>
              <a:rPr lang="en-US" dirty="0"/>
              <a:t>Minor Comments</a:t>
            </a:r>
          </a:p>
          <a:p>
            <a:r>
              <a:rPr lang="en-US" dirty="0"/>
              <a:t>Clarity of Reporting </a:t>
            </a:r>
          </a:p>
          <a:p>
            <a:endParaRPr lang="en-US" dirty="0">
              <a:sym typeface="Wingdings" pitchFamily="2" charset="2"/>
            </a:endParaRPr>
          </a:p>
          <a:p>
            <a:pPr marL="0" indent="0">
              <a:buNone/>
            </a:pPr>
            <a:r>
              <a:rPr lang="en-US" dirty="0">
                <a:sym typeface="Wingdings" pitchFamily="2" charset="2"/>
              </a:rPr>
              <a:t> Cross-review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36634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10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10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10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10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6" grpId="0" animBg="1"/>
      <p:bldP spid="29" grpId="0" animBg="1"/>
      <p:bldP spid="9" grpId="0" animBg="1"/>
      <p:bldP spid="3" grpId="0" animBg="1"/>
      <p:bldP spid="7" grpId="0" uiExpand="1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5E3AB9-5FA6-B930-213A-353140CF1E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ndering a Decision</a:t>
            </a:r>
          </a:p>
        </p:txBody>
      </p:sp>
      <p:sp>
        <p:nvSpPr>
          <p:cNvPr id="4" name="Alternate Process 3">
            <a:extLst>
              <a:ext uri="{FF2B5EF4-FFF2-40B4-BE49-F238E27FC236}">
                <a16:creationId xmlns:a16="http://schemas.microsoft.com/office/drawing/2014/main" id="{02560788-D121-F1A3-3716-119906A01097}"/>
              </a:ext>
            </a:extLst>
          </p:cNvPr>
          <p:cNvSpPr/>
          <p:nvPr/>
        </p:nvSpPr>
        <p:spPr>
          <a:xfrm>
            <a:off x="213608" y="1168465"/>
            <a:ext cx="1225148" cy="548640"/>
          </a:xfrm>
          <a:prstGeom prst="flowChartAlternateProcess">
            <a:avLst/>
          </a:prstGeom>
          <a:ln w="1270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Manuscript is submitted</a:t>
            </a:r>
          </a:p>
        </p:txBody>
      </p:sp>
      <p:sp>
        <p:nvSpPr>
          <p:cNvPr id="5" name="Alternate Process 4">
            <a:extLst>
              <a:ext uri="{FF2B5EF4-FFF2-40B4-BE49-F238E27FC236}">
                <a16:creationId xmlns:a16="http://schemas.microsoft.com/office/drawing/2014/main" id="{42859098-A7D5-C5F7-72B4-1B2AD739E701}"/>
              </a:ext>
            </a:extLst>
          </p:cNvPr>
          <p:cNvSpPr/>
          <p:nvPr/>
        </p:nvSpPr>
        <p:spPr>
          <a:xfrm>
            <a:off x="1327214" y="1303918"/>
            <a:ext cx="1328603" cy="548640"/>
          </a:xfrm>
          <a:prstGeom prst="flowChartAlternateProcess">
            <a:avLst/>
          </a:prstGeom>
          <a:solidFill>
            <a:schemeClr val="accent5">
              <a:lumMod val="75000"/>
            </a:schemeClr>
          </a:solidFill>
          <a:ln w="1270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ditorial evaluation</a:t>
            </a:r>
          </a:p>
        </p:txBody>
      </p:sp>
      <p:sp>
        <p:nvSpPr>
          <p:cNvPr id="11" name="Alternate Process 10">
            <a:extLst>
              <a:ext uri="{FF2B5EF4-FFF2-40B4-BE49-F238E27FC236}">
                <a16:creationId xmlns:a16="http://schemas.microsoft.com/office/drawing/2014/main" id="{8F1D7AE6-500F-1E31-391C-EC62EF4D6ABF}"/>
              </a:ext>
            </a:extLst>
          </p:cNvPr>
          <p:cNvSpPr/>
          <p:nvPr/>
        </p:nvSpPr>
        <p:spPr>
          <a:xfrm>
            <a:off x="1517710" y="2190743"/>
            <a:ext cx="947609" cy="548640"/>
          </a:xfrm>
          <a:prstGeom prst="flowChartAlternateProcess">
            <a:avLst/>
          </a:prstGeom>
          <a:ln w="1270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Out for Review</a:t>
            </a:r>
          </a:p>
        </p:txBody>
      </p:sp>
      <p:sp>
        <p:nvSpPr>
          <p:cNvPr id="29" name="Right Arrow 28">
            <a:extLst>
              <a:ext uri="{FF2B5EF4-FFF2-40B4-BE49-F238E27FC236}">
                <a16:creationId xmlns:a16="http://schemas.microsoft.com/office/drawing/2014/main" id="{F7D1C5AC-0444-4CB1-2FE5-EAA2111E77C1}"/>
              </a:ext>
            </a:extLst>
          </p:cNvPr>
          <p:cNvSpPr/>
          <p:nvPr/>
        </p:nvSpPr>
        <p:spPr>
          <a:xfrm rot="5400000">
            <a:off x="1859659" y="1879428"/>
            <a:ext cx="274320" cy="228600"/>
          </a:xfrm>
          <a:prstGeom prst="rightArrow">
            <a:avLst/>
          </a:prstGeom>
          <a:solidFill>
            <a:schemeClr val="tx2">
              <a:lumMod val="10000"/>
              <a:lumOff val="9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6" name="Alternate Process 5">
            <a:extLst>
              <a:ext uri="{FF2B5EF4-FFF2-40B4-BE49-F238E27FC236}">
                <a16:creationId xmlns:a16="http://schemas.microsoft.com/office/drawing/2014/main" id="{932223E9-9052-11CE-0D8B-BE20A2948DDE}"/>
              </a:ext>
            </a:extLst>
          </p:cNvPr>
          <p:cNvSpPr/>
          <p:nvPr/>
        </p:nvSpPr>
        <p:spPr>
          <a:xfrm>
            <a:off x="2328348" y="2344248"/>
            <a:ext cx="1787282" cy="683175"/>
          </a:xfrm>
          <a:prstGeom prst="flowChartAlternateProcess">
            <a:avLst/>
          </a:prstGeom>
          <a:solidFill>
            <a:schemeClr val="accent5">
              <a:lumMod val="75000"/>
            </a:schemeClr>
          </a:solidFill>
          <a:ln w="12700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Editorial evaluation of </a:t>
            </a:r>
            <a:r>
              <a:rPr lang="en-US" sz="1400" dirty="0" err="1"/>
              <a:t>ms</a:t>
            </a:r>
            <a:r>
              <a:rPr lang="en-US" sz="1400" dirty="0"/>
              <a:t> and reviewer report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929A6F7-820C-C85E-2C63-06915AC79E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08320" y="1168465"/>
            <a:ext cx="3938779" cy="323451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What we take into consideration:</a:t>
            </a:r>
          </a:p>
          <a:p>
            <a:r>
              <a:rPr lang="en-US" dirty="0"/>
              <a:t>Interest and enthusiasm in the overall message</a:t>
            </a:r>
          </a:p>
          <a:p>
            <a:r>
              <a:rPr lang="en-US" dirty="0"/>
              <a:t>An understandable and reasonable path for a revised manuscript?</a:t>
            </a:r>
          </a:p>
          <a:p>
            <a:r>
              <a:rPr lang="en-US" dirty="0"/>
              <a:t>Would the concerns/revisions impact the overall message of the current manuscript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491472-53E3-E5FD-E64F-F1E2118E231E}"/>
              </a:ext>
            </a:extLst>
          </p:cNvPr>
          <p:cNvSpPr txBox="1"/>
          <p:nvPr/>
        </p:nvSpPr>
        <p:spPr>
          <a:xfrm>
            <a:off x="1635657" y="3047917"/>
            <a:ext cx="317266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u="sng" dirty="0">
                <a:solidFill>
                  <a:schemeClr val="bg1">
                    <a:lumMod val="95000"/>
                  </a:schemeClr>
                </a:solidFill>
              </a:rPr>
              <a:t>Never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 a yes/no tally. </a:t>
            </a:r>
          </a:p>
          <a:p>
            <a:pPr algn="ctr"/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Rarely a tidy and unanimous </a:t>
            </a:r>
          </a:p>
          <a:p>
            <a:pPr algn="ctr"/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recommenda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3276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3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J0heV53PlGtRYX1JzAFO0FAAAAAAADAAAAAwADAAAAAQADAAEA////////BAAAAAMAEAALm6GqAtnBEU68A6dwI+nKE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CJ0heV53PlGtRYX1JzAFO0DRGF0YQAbAAAABExpbmtlZFNoYXBlRGF0YQAFAAAAAAACTmFtZQAZAAAATGlua2VkU2hhcGVzRGF0YVByb3BlcnR5ABBWZXJzaW9uAAAAAAAJTGFzdFdyaXRlAMzT+5l6AQAAAAEA/////50AnQAAAAVfaWQAEAAAAASboaoC2cERTrwDp3Aj6coQA0RhdGEAKgAAAAhQcmVzZW50YXRpb25TY2FubmVkRm9yTGlua2VkU2hhcGVzAAEAAk5hbWUAJAAAAExpbmtlZFNoYXBlUHJlc2VudGF0aW9uU2V0dGluZ3NEYXRhABBWZXJzaW9uAAAAAAAJTGFzdFdyaXRlAN/T+5l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COAUTHORING_SESSION_ID" val="b566149e-3710-4e24-8c13-ab592f63e281"/>
  <p:tag name="UNDO_REDO_REVISION" val="91"/>
  <p:tag name="MIO_PRESENTATION_LANGUAGE" val="103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7.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1|35.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.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8|30.6|4.6|13.6|3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7.4|28.5|45.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7.4|28.5|45.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|33.6|33.7"/>
</p:tagLst>
</file>

<file path=ppt/theme/theme1.xml><?xml version="1.0" encoding="utf-8"?>
<a:theme xmlns:a="http://schemas.openxmlformats.org/drawingml/2006/main" name="Elsevier light">
  <a:themeElements>
    <a:clrScheme name="Elsevier2_0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679E0"/>
      </a:accent1>
      <a:accent2>
        <a:srgbClr val="EB6500"/>
      </a:accent2>
      <a:accent3>
        <a:srgbClr val="8E8E8E"/>
      </a:accent3>
      <a:accent4>
        <a:srgbClr val="CDE4FF"/>
      </a:accent4>
      <a:accent5>
        <a:srgbClr val="FFF0E4"/>
      </a:accent5>
      <a:accent6>
        <a:srgbClr val="DCDCDC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FD9B95B7-7997-4FB9-A47B-A8D416D981DD}"/>
    </a:ext>
  </a:extLst>
</a:theme>
</file>

<file path=ppt/theme/theme2.xml><?xml version="1.0" encoding="utf-8"?>
<a:theme xmlns:a="http://schemas.openxmlformats.org/drawingml/2006/main" name="Elsevier light - Charts and Data">
  <a:themeElements>
    <a:clrScheme name="Elsevier_ChartsAndData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AABF0"/>
      </a:accent1>
      <a:accent2>
        <a:srgbClr val="702862"/>
      </a:accent2>
      <a:accent3>
        <a:srgbClr val="FF6E7D"/>
      </a:accent3>
      <a:accent4>
        <a:srgbClr val="D6EA08"/>
      </a:accent4>
      <a:accent5>
        <a:srgbClr val="FF322B"/>
      </a:accent5>
      <a:accent6>
        <a:srgbClr val="00BDC4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F1895935-4782-4ED3-9F2E-DA9302EF7568}"/>
    </a:ext>
  </a:extLst>
</a:theme>
</file>

<file path=ppt/theme/theme3.xml><?xml version="1.0" encoding="utf-8"?>
<a:theme xmlns:a="http://schemas.openxmlformats.org/drawingml/2006/main" name="Elsevier dark">
  <a:themeElements>
    <a:clrScheme name="Elsevier_2.0_Dark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679E0"/>
      </a:accent1>
      <a:accent2>
        <a:srgbClr val="EB6500"/>
      </a:accent2>
      <a:accent3>
        <a:srgbClr val="8E8E8E"/>
      </a:accent3>
      <a:accent4>
        <a:srgbClr val="CDE4FF"/>
      </a:accent4>
      <a:accent5>
        <a:srgbClr val="FFF0E4"/>
      </a:accent5>
      <a:accent6>
        <a:srgbClr val="DCDCDC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0B725E11-DC5A-4140-B411-6A18A3B7ACAE}"/>
    </a:ext>
  </a:extLst>
</a:theme>
</file>

<file path=ppt/theme/theme4.xml><?xml version="1.0" encoding="utf-8"?>
<a:theme xmlns:a="http://schemas.openxmlformats.org/drawingml/2006/main" name="Elsevier dark - Charts and Data">
  <a:themeElements>
    <a:clrScheme name="Elsevier_ChartsAndData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AABF0"/>
      </a:accent1>
      <a:accent2>
        <a:srgbClr val="702862"/>
      </a:accent2>
      <a:accent3>
        <a:srgbClr val="FF6E7D"/>
      </a:accent3>
      <a:accent4>
        <a:srgbClr val="D6EA08"/>
      </a:accent4>
      <a:accent5>
        <a:srgbClr val="FF322B"/>
      </a:accent5>
      <a:accent6>
        <a:srgbClr val="00BDC4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8CCF67CE-5720-4FD2-9BFE-20E687D75710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lsevier light</Template>
  <TotalTime>4678</TotalTime>
  <Words>656</Words>
  <Application>Microsoft Macintosh PowerPoint</Application>
  <PresentationFormat>On-screen Show (16:9)</PresentationFormat>
  <Paragraphs>124</Paragraphs>
  <Slides>1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ial</vt:lpstr>
      <vt:lpstr>Calibri</vt:lpstr>
      <vt:lpstr>Courier New</vt:lpstr>
      <vt:lpstr>Helvetica Neue</vt:lpstr>
      <vt:lpstr>Elsevier light</vt:lpstr>
      <vt:lpstr>Elsevier light - Charts and Data</vt:lpstr>
      <vt:lpstr>Elsevier dark</vt:lpstr>
      <vt:lpstr>Elsevier dark - Charts and Data</vt:lpstr>
      <vt:lpstr>Behind the Curtain: Scientific Editing  at Immunity</vt:lpstr>
      <vt:lpstr>Overview</vt:lpstr>
      <vt:lpstr>My path to editorial</vt:lpstr>
      <vt:lpstr>General stats on Immunity</vt:lpstr>
      <vt:lpstr>The Cell Press Journal Portfolio</vt:lpstr>
      <vt:lpstr>The Editorial Process at Immunity</vt:lpstr>
      <vt:lpstr>What happens after you click “Submit”?</vt:lpstr>
      <vt:lpstr>Initial editorial decision</vt:lpstr>
      <vt:lpstr>Rendering a Decision</vt:lpstr>
      <vt:lpstr>Post-review paper trajectories</vt:lpstr>
      <vt:lpstr>Editorial as a Career Path</vt:lpstr>
      <vt:lpstr>What does an editor do?</vt:lpstr>
      <vt:lpstr>What (else) does an editor do?</vt:lpstr>
      <vt:lpstr>Should I be an editor?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Cell Press Journal Portfolio</dc:title>
  <dc:creator>Gullicksrud, Jodi (ELS-HBE)</dc:creator>
  <cp:lastModifiedBy>Gullicksrud, Jodi (ELS-HBE)</cp:lastModifiedBy>
  <cp:revision>30</cp:revision>
  <cp:lastPrinted>2018-07-23T12:36:44Z</cp:lastPrinted>
  <dcterms:created xsi:type="dcterms:W3CDTF">2023-06-14T15:28:53Z</dcterms:created>
  <dcterms:modified xsi:type="dcterms:W3CDTF">2023-10-20T19:58:24Z</dcterms:modified>
  <cp:version>1.0.0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sedEntity">
    <vt:lpwstr>Templates</vt:lpwstr>
  </property>
  <property fmtid="{D5CDD505-2E9C-101B-9397-08002B2CF9AE}" pid="3" name="MSIP_Label_549ac42a-3eb4-4074-b885-aea26bd6241e_Enabled">
    <vt:lpwstr>true</vt:lpwstr>
  </property>
  <property fmtid="{D5CDD505-2E9C-101B-9397-08002B2CF9AE}" pid="4" name="MSIP_Label_549ac42a-3eb4-4074-b885-aea26bd6241e_SetDate">
    <vt:lpwstr>2023-06-14T17:08:06Z</vt:lpwstr>
  </property>
  <property fmtid="{D5CDD505-2E9C-101B-9397-08002B2CF9AE}" pid="5" name="MSIP_Label_549ac42a-3eb4-4074-b885-aea26bd6241e_Method">
    <vt:lpwstr>Standard</vt:lpwstr>
  </property>
  <property fmtid="{D5CDD505-2E9C-101B-9397-08002B2CF9AE}" pid="6" name="MSIP_Label_549ac42a-3eb4-4074-b885-aea26bd6241e_Name">
    <vt:lpwstr>General Business</vt:lpwstr>
  </property>
  <property fmtid="{D5CDD505-2E9C-101B-9397-08002B2CF9AE}" pid="7" name="MSIP_Label_549ac42a-3eb4-4074-b885-aea26bd6241e_SiteId">
    <vt:lpwstr>9274ee3f-9425-4109-a27f-9fb15c10675d</vt:lpwstr>
  </property>
  <property fmtid="{D5CDD505-2E9C-101B-9397-08002B2CF9AE}" pid="8" name="MSIP_Label_549ac42a-3eb4-4074-b885-aea26bd6241e_ActionId">
    <vt:lpwstr>43956257-c0e0-4990-bef2-c8963f16c56d</vt:lpwstr>
  </property>
  <property fmtid="{D5CDD505-2E9C-101B-9397-08002B2CF9AE}" pid="9" name="MSIP_Label_549ac42a-3eb4-4074-b885-aea26bd6241e_ContentBits">
    <vt:lpwstr>0</vt:lpwstr>
  </property>
</Properties>
</file>